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63" r:id="rId2"/>
  </p:sldIdLst>
  <p:sldSz cx="7556500" cy="10693400"/>
  <p:notesSz cx="6858000" cy="9144000"/>
  <p:embeddedFontLst>
    <p:embeddedFont>
      <p:font typeface="Be Vietnam Pro" pitchFamily="2" charset="0"/>
      <p:regular r:id="rId3"/>
      <p:bold r:id="rId4"/>
      <p:italic r:id="rId5"/>
      <p:boldItalic r:id="rId6"/>
    </p:embeddedFont>
    <p:embeddedFont>
      <p:font typeface="Poppins" panose="00000500000000000000" pitchFamily="2" charset="0"/>
      <p:regular r:id="rId7"/>
      <p:bold r:id="rId8"/>
      <p:italic r:id="rId9"/>
      <p:boldItalic r:id="rId10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 autoAdjust="0"/>
    <p:restoredTop sz="94622" autoAdjust="0"/>
  </p:normalViewPr>
  <p:slideViewPr>
    <p:cSldViewPr>
      <p:cViewPr>
        <p:scale>
          <a:sx n="66" d="100"/>
          <a:sy n="66" d="100"/>
        </p:scale>
        <p:origin x="1734" y="16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6.fntdata"/><Relationship Id="rId13" Type="http://schemas.openxmlformats.org/officeDocument/2006/relationships/theme" Target="theme/theme1.xml"/><Relationship Id="rId3" Type="http://schemas.openxmlformats.org/officeDocument/2006/relationships/font" Target="fonts/font1.fntdata"/><Relationship Id="rId7" Type="http://schemas.openxmlformats.org/officeDocument/2006/relationships/font" Target="fonts/font5.fntdata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4.fntdata"/><Relationship Id="rId11" Type="http://schemas.openxmlformats.org/officeDocument/2006/relationships/presProps" Target="presProps.xml"/><Relationship Id="rId5" Type="http://schemas.openxmlformats.org/officeDocument/2006/relationships/font" Target="fonts/font3.fntdata"/><Relationship Id="rId10" Type="http://schemas.openxmlformats.org/officeDocument/2006/relationships/font" Target="fonts/font8.fntdata"/><Relationship Id="rId4" Type="http://schemas.openxmlformats.org/officeDocument/2006/relationships/font" Target="fonts/font2.fntdata"/><Relationship Id="rId9" Type="http://schemas.openxmlformats.org/officeDocument/2006/relationships/font" Target="fonts/font7.fntdata"/><Relationship Id="rId14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1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1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1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1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1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16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16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16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16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16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16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3/1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B5E8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6" name="Group 9">
            <a:extLst>
              <a:ext uri="{FF2B5EF4-FFF2-40B4-BE49-F238E27FC236}">
                <a16:creationId xmlns:a16="http://schemas.microsoft.com/office/drawing/2014/main" id="{186F7A9A-58EA-0843-7B55-94EF5544863E}"/>
              </a:ext>
            </a:extLst>
          </p:cNvPr>
          <p:cNvGrpSpPr/>
          <p:nvPr/>
        </p:nvGrpSpPr>
        <p:grpSpPr>
          <a:xfrm>
            <a:off x="512006" y="517073"/>
            <a:ext cx="6726057" cy="9646071"/>
            <a:chOff x="512006" y="517073"/>
            <a:chExt cx="6726057" cy="9646071"/>
          </a:xfrm>
        </p:grpSpPr>
        <p:grpSp>
          <p:nvGrpSpPr>
            <p:cNvPr id="332" name="Group 331">
              <a:extLst>
                <a:ext uri="{FF2B5EF4-FFF2-40B4-BE49-F238E27FC236}">
                  <a16:creationId xmlns:a16="http://schemas.microsoft.com/office/drawing/2014/main" id="{6498E294-811A-5C51-C05E-6D39302164BC}"/>
                </a:ext>
              </a:extLst>
            </p:cNvPr>
            <p:cNvGrpSpPr/>
            <p:nvPr/>
          </p:nvGrpSpPr>
          <p:grpSpPr>
            <a:xfrm>
              <a:off x="512006" y="517073"/>
              <a:ext cx="6532488" cy="9646071"/>
              <a:chOff x="517623" y="517073"/>
              <a:chExt cx="6532488" cy="9646071"/>
            </a:xfrm>
          </p:grpSpPr>
          <p:grpSp>
            <p:nvGrpSpPr>
              <p:cNvPr id="262" name="Group 261">
                <a:extLst>
                  <a:ext uri="{FF2B5EF4-FFF2-40B4-BE49-F238E27FC236}">
                    <a16:creationId xmlns:a16="http://schemas.microsoft.com/office/drawing/2014/main" id="{6D93A2DD-C981-091B-61C5-ABBD747D7DC8}"/>
                  </a:ext>
                </a:extLst>
              </p:cNvPr>
              <p:cNvGrpSpPr/>
              <p:nvPr/>
            </p:nvGrpSpPr>
            <p:grpSpPr>
              <a:xfrm>
                <a:off x="517623" y="6622630"/>
                <a:ext cx="6532488" cy="3540514"/>
                <a:chOff x="517623" y="2450093"/>
                <a:chExt cx="6532488" cy="3540514"/>
              </a:xfrm>
            </p:grpSpPr>
            <p:sp>
              <p:nvSpPr>
                <p:cNvPr id="263" name="AutoShape 206">
                  <a:extLst>
                    <a:ext uri="{FF2B5EF4-FFF2-40B4-BE49-F238E27FC236}">
                      <a16:creationId xmlns:a16="http://schemas.microsoft.com/office/drawing/2014/main" id="{4DB46E6B-1B1B-1A01-CEF6-B521CF5C4ABE}"/>
                    </a:ext>
                  </a:extLst>
                </p:cNvPr>
                <p:cNvSpPr/>
                <p:nvPr/>
              </p:nvSpPr>
              <p:spPr>
                <a:xfrm>
                  <a:off x="517623" y="2672298"/>
                  <a:ext cx="6521255" cy="0"/>
                </a:xfrm>
                <a:prstGeom prst="line">
                  <a:avLst/>
                </a:prstGeom>
                <a:ln w="9525" cap="flat">
                  <a:solidFill>
                    <a:srgbClr val="FFFFFF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64" name="TextBox 207">
                  <a:extLst>
                    <a:ext uri="{FF2B5EF4-FFF2-40B4-BE49-F238E27FC236}">
                      <a16:creationId xmlns:a16="http://schemas.microsoft.com/office/drawing/2014/main" id="{6B7A1EF6-1DDA-408C-52C9-5F88B9FE43F3}"/>
                    </a:ext>
                  </a:extLst>
                </p:cNvPr>
                <p:cNvSpPr txBox="1"/>
                <p:nvPr/>
              </p:nvSpPr>
              <p:spPr>
                <a:xfrm>
                  <a:off x="5508568" y="2450093"/>
                  <a:ext cx="1541543" cy="141192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r">
                    <a:lnSpc>
                      <a:spcPts val="1200"/>
                    </a:lnSpc>
                  </a:pPr>
                  <a:r>
                    <a:rPr lang="vi-VN" sz="800" b="1" dirty="0">
                      <a:solidFill>
                        <a:srgbClr val="FFFFFF"/>
                      </a:solidFill>
                      <a:latin typeface="Be Vietnam Pro" pitchFamily="2" charset="0"/>
                    </a:rPr>
                    <a:t>02</a:t>
                  </a:r>
                  <a:endParaRPr lang="en-US" sz="800" b="1" dirty="0">
                    <a:solidFill>
                      <a:srgbClr val="FFFFFF"/>
                    </a:solidFill>
                    <a:latin typeface="Be Vietnam Pro" pitchFamily="2" charset="0"/>
                  </a:endParaRPr>
                </a:p>
              </p:txBody>
            </p:sp>
            <p:sp>
              <p:nvSpPr>
                <p:cNvPr id="265" name="TextBox 208">
                  <a:extLst>
                    <a:ext uri="{FF2B5EF4-FFF2-40B4-BE49-F238E27FC236}">
                      <a16:creationId xmlns:a16="http://schemas.microsoft.com/office/drawing/2014/main" id="{C45716D9-D25F-A000-2D3D-20BFC9902DF7}"/>
                    </a:ext>
                  </a:extLst>
                </p:cNvPr>
                <p:cNvSpPr txBox="1"/>
                <p:nvPr/>
              </p:nvSpPr>
              <p:spPr>
                <a:xfrm>
                  <a:off x="528856" y="2450093"/>
                  <a:ext cx="2067846" cy="141192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1200"/>
                    </a:lnSpc>
                  </a:pPr>
                  <a:r>
                    <a:rPr lang="en-US" sz="800" b="1" dirty="0">
                      <a:solidFill>
                        <a:srgbClr val="FFFFFF"/>
                      </a:solidFill>
                      <a:latin typeface="Be Vietnam Pro" pitchFamily="2" charset="0"/>
                    </a:rPr>
                    <a:t>THE MOST POWERFUL ENGINE</a:t>
                  </a:r>
                </a:p>
              </p:txBody>
            </p:sp>
            <p:grpSp>
              <p:nvGrpSpPr>
                <p:cNvPr id="266" name="Group 265">
                  <a:extLst>
                    <a:ext uri="{FF2B5EF4-FFF2-40B4-BE49-F238E27FC236}">
                      <a16:creationId xmlns:a16="http://schemas.microsoft.com/office/drawing/2014/main" id="{3EC8BDC1-5A62-1532-12DA-25B2BAF6E10F}"/>
                    </a:ext>
                  </a:extLst>
                </p:cNvPr>
                <p:cNvGrpSpPr/>
                <p:nvPr/>
              </p:nvGrpSpPr>
              <p:grpSpPr>
                <a:xfrm>
                  <a:off x="528856" y="2758153"/>
                  <a:ext cx="3174944" cy="3232454"/>
                  <a:chOff x="528856" y="2758153"/>
                  <a:chExt cx="3174944" cy="3232454"/>
                </a:xfrm>
              </p:grpSpPr>
              <p:grpSp>
                <p:nvGrpSpPr>
                  <p:cNvPr id="298" name="Group 297">
                    <a:extLst>
                      <a:ext uri="{FF2B5EF4-FFF2-40B4-BE49-F238E27FC236}">
                        <a16:creationId xmlns:a16="http://schemas.microsoft.com/office/drawing/2014/main" id="{C9F20C7E-B57B-4E4D-BB30-0939255803A3}"/>
                      </a:ext>
                    </a:extLst>
                  </p:cNvPr>
                  <p:cNvGrpSpPr/>
                  <p:nvPr/>
                </p:nvGrpSpPr>
                <p:grpSpPr>
                  <a:xfrm>
                    <a:off x="528856" y="2758153"/>
                    <a:ext cx="3174944" cy="581616"/>
                    <a:chOff x="528856" y="2758153"/>
                    <a:chExt cx="3174944" cy="581616"/>
                  </a:xfrm>
                </p:grpSpPr>
                <p:sp>
                  <p:nvSpPr>
                    <p:cNvPr id="323" name="Freeform 106">
                      <a:extLst>
                        <a:ext uri="{FF2B5EF4-FFF2-40B4-BE49-F238E27FC236}">
                          <a16:creationId xmlns:a16="http://schemas.microsoft.com/office/drawing/2014/main" id="{1612E5C7-C9BD-6A48-B983-DB190F67DC3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28856" y="2829460"/>
                      <a:ext cx="3174944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48198" h="136331">
                          <a:moveTo>
                            <a:pt x="0" y="0"/>
                          </a:moveTo>
                          <a:lnTo>
                            <a:pt x="848198" y="0"/>
                          </a:lnTo>
                          <a:lnTo>
                            <a:pt x="848198" y="136331"/>
                          </a:lnTo>
                          <a:lnTo>
                            <a:pt x="0" y="136331"/>
                          </a:lnTo>
                          <a:close/>
                        </a:path>
                      </a:pathLst>
                    </a:custGeom>
                    <a:gradFill rotWithShape="1">
                      <a:gsLst>
                        <a:gs pos="0">
                          <a:srgbClr val="3B5E8F">
                            <a:alpha val="50000"/>
                          </a:srgbClr>
                        </a:gs>
                        <a:gs pos="100000">
                          <a:srgbClr val="FFFFFF">
                            <a:alpha val="50000"/>
                          </a:srgbClr>
                        </a:gs>
                      </a:gsLst>
                      <a:lin ang="0"/>
                    </a:gradFill>
                    <a:ln cap="sq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324" name="Freeform 109">
                      <a:extLst>
                        <a:ext uri="{FF2B5EF4-FFF2-40B4-BE49-F238E27FC236}">
                          <a16:creationId xmlns:a16="http://schemas.microsoft.com/office/drawing/2014/main" id="{245CEFCC-091F-85BB-B575-E33F724582E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28856" y="2829460"/>
                      <a:ext cx="3174944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48198" h="136331">
                          <a:moveTo>
                            <a:pt x="0" y="0"/>
                          </a:moveTo>
                          <a:lnTo>
                            <a:pt x="848198" y="0"/>
                          </a:lnTo>
                          <a:lnTo>
                            <a:pt x="848198" y="136331"/>
                          </a:lnTo>
                          <a:lnTo>
                            <a:pt x="0" y="136331"/>
                          </a:lnTo>
                          <a:close/>
                        </a:path>
                      </a:pathLst>
                    </a:custGeom>
                    <a:solidFill>
                      <a:srgbClr val="3B5E8F">
                        <a:alpha val="29804"/>
                      </a:srgbClr>
                    </a:solidFill>
                    <a:ln w="9525" cap="sq">
                      <a:solidFill>
                        <a:srgbClr val="FFFFFF">
                          <a:alpha val="29804"/>
                        </a:srgbClr>
                      </a:solidFill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325" name="Freeform 112">
                      <a:extLst>
                        <a:ext uri="{FF2B5EF4-FFF2-40B4-BE49-F238E27FC236}">
                          <a16:creationId xmlns:a16="http://schemas.microsoft.com/office/drawing/2014/main" id="{C7D14423-574C-984A-BA02-9662FD75507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193491" y="2829460"/>
                      <a:ext cx="510309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82883" h="182883">
                          <a:moveTo>
                            <a:pt x="0" y="0"/>
                          </a:moveTo>
                          <a:lnTo>
                            <a:pt x="182883" y="0"/>
                          </a:lnTo>
                          <a:lnTo>
                            <a:pt x="182883" y="182883"/>
                          </a:lnTo>
                          <a:lnTo>
                            <a:pt x="0" y="182883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sq">
                      <a:solidFill>
                        <a:srgbClr val="FFFFFF"/>
                      </a:solidFill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326" name="TextBox 107">
                      <a:extLst>
                        <a:ext uri="{FF2B5EF4-FFF2-40B4-BE49-F238E27FC236}">
                          <a16:creationId xmlns:a16="http://schemas.microsoft.com/office/drawing/2014/main" id="{2D6C9C3F-BA1C-F55C-2A56-F5CBC1927A48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28856" y="2758153"/>
                      <a:ext cx="3174944" cy="581616"/>
                    </a:xfrm>
                    <a:prstGeom prst="rect">
                      <a:avLst/>
                    </a:prstGeom>
                  </p:spPr>
                  <p:txBody>
                    <a:bodyPr lIns="68146" tIns="68146" rIns="68146" bIns="68146" rtlCol="0" anchor="ctr"/>
                    <a:lstStyle/>
                    <a:p>
                      <a:pPr marL="0" lvl="0" indent="0" algn="ctr">
                        <a:lnSpc>
                          <a:spcPts val="1674"/>
                        </a:lnSpc>
                        <a:spcBef>
                          <a:spcPct val="0"/>
                        </a:spcBef>
                      </a:pPr>
                      <a:endParaRPr dirty="0"/>
                    </a:p>
                  </p:txBody>
                </p:sp>
                <p:sp>
                  <p:nvSpPr>
                    <p:cNvPr id="327" name="TextBox 197">
                      <a:extLst>
                        <a:ext uri="{FF2B5EF4-FFF2-40B4-BE49-F238E27FC236}">
                          <a16:creationId xmlns:a16="http://schemas.microsoft.com/office/drawing/2014/main" id="{9AD5F131-C109-01EB-E448-562EDF7F7A84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756000" y="3018846"/>
                      <a:ext cx="2107850" cy="141064"/>
                    </a:xfrm>
                    <a:prstGeom prst="rect">
                      <a:avLst/>
                    </a:prstGeom>
                  </p:spPr>
                  <p:txBody>
                    <a:bodyPr wrap="square" lIns="0" tIns="0" rIns="0" bIns="0" rtlCol="0" anchor="t">
                      <a:spAutoFit/>
                    </a:bodyPr>
                    <a:lstStyle/>
                    <a:p>
                      <a:pPr>
                        <a:lnSpc>
                          <a:spcPts val="1099"/>
                        </a:lnSpc>
                      </a:pPr>
                      <a:r>
                        <a:rPr lang="en-US" sz="999" b="1" spc="-49" dirty="0">
                          <a:solidFill>
                            <a:srgbClr val="FFFFFF"/>
                          </a:solidFill>
                          <a:latin typeface="Be Vietnam Pro" pitchFamily="2" charset="0"/>
                        </a:rPr>
                        <a:t>Bugatti Chiron</a:t>
                      </a:r>
                    </a:p>
                  </p:txBody>
                </p:sp>
              </p:grpSp>
              <p:grpSp>
                <p:nvGrpSpPr>
                  <p:cNvPr id="299" name="Group 298">
                    <a:extLst>
                      <a:ext uri="{FF2B5EF4-FFF2-40B4-BE49-F238E27FC236}">
                        <a16:creationId xmlns:a16="http://schemas.microsoft.com/office/drawing/2014/main" id="{6B51D69F-223B-02F4-14DD-23DDE5BEF229}"/>
                      </a:ext>
                    </a:extLst>
                  </p:cNvPr>
                  <p:cNvGrpSpPr/>
                  <p:nvPr/>
                </p:nvGrpSpPr>
                <p:grpSpPr>
                  <a:xfrm>
                    <a:off x="528856" y="3420862"/>
                    <a:ext cx="3174944" cy="581616"/>
                    <a:chOff x="528856" y="2758153"/>
                    <a:chExt cx="3174944" cy="581616"/>
                  </a:xfrm>
                </p:grpSpPr>
                <p:sp>
                  <p:nvSpPr>
                    <p:cNvPr id="318" name="Freeform 106">
                      <a:extLst>
                        <a:ext uri="{FF2B5EF4-FFF2-40B4-BE49-F238E27FC236}">
                          <a16:creationId xmlns:a16="http://schemas.microsoft.com/office/drawing/2014/main" id="{04A73AAB-29CD-D82B-0F29-A697B0D494E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28856" y="2829460"/>
                      <a:ext cx="3174944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48198" h="136331">
                          <a:moveTo>
                            <a:pt x="0" y="0"/>
                          </a:moveTo>
                          <a:lnTo>
                            <a:pt x="848198" y="0"/>
                          </a:lnTo>
                          <a:lnTo>
                            <a:pt x="848198" y="136331"/>
                          </a:lnTo>
                          <a:lnTo>
                            <a:pt x="0" y="136331"/>
                          </a:lnTo>
                          <a:close/>
                        </a:path>
                      </a:pathLst>
                    </a:custGeom>
                    <a:gradFill rotWithShape="1">
                      <a:gsLst>
                        <a:gs pos="0">
                          <a:srgbClr val="3B5E8F">
                            <a:alpha val="50000"/>
                          </a:srgbClr>
                        </a:gs>
                        <a:gs pos="100000">
                          <a:srgbClr val="FFFFFF">
                            <a:alpha val="50000"/>
                          </a:srgbClr>
                        </a:gs>
                      </a:gsLst>
                      <a:lin ang="0"/>
                    </a:gradFill>
                    <a:ln cap="sq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319" name="Freeform 109">
                      <a:extLst>
                        <a:ext uri="{FF2B5EF4-FFF2-40B4-BE49-F238E27FC236}">
                          <a16:creationId xmlns:a16="http://schemas.microsoft.com/office/drawing/2014/main" id="{4E49EDDD-0FCC-4989-21DD-D87DB151829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28856" y="2829460"/>
                      <a:ext cx="3174944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48198" h="136331">
                          <a:moveTo>
                            <a:pt x="0" y="0"/>
                          </a:moveTo>
                          <a:lnTo>
                            <a:pt x="848198" y="0"/>
                          </a:lnTo>
                          <a:lnTo>
                            <a:pt x="848198" y="136331"/>
                          </a:lnTo>
                          <a:lnTo>
                            <a:pt x="0" y="136331"/>
                          </a:lnTo>
                          <a:close/>
                        </a:path>
                      </a:pathLst>
                    </a:custGeom>
                    <a:solidFill>
                      <a:srgbClr val="3B5E8F">
                        <a:alpha val="29804"/>
                      </a:srgbClr>
                    </a:solidFill>
                    <a:ln w="9525" cap="sq">
                      <a:solidFill>
                        <a:srgbClr val="FFFFFF">
                          <a:alpha val="29804"/>
                        </a:srgbClr>
                      </a:solidFill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320" name="Freeform 112">
                      <a:extLst>
                        <a:ext uri="{FF2B5EF4-FFF2-40B4-BE49-F238E27FC236}">
                          <a16:creationId xmlns:a16="http://schemas.microsoft.com/office/drawing/2014/main" id="{99E628DE-CF04-9F3B-DF19-668CC3B221C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193491" y="2829460"/>
                      <a:ext cx="510309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82883" h="182883">
                          <a:moveTo>
                            <a:pt x="0" y="0"/>
                          </a:moveTo>
                          <a:lnTo>
                            <a:pt x="182883" y="0"/>
                          </a:lnTo>
                          <a:lnTo>
                            <a:pt x="182883" y="182883"/>
                          </a:lnTo>
                          <a:lnTo>
                            <a:pt x="0" y="182883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sq">
                      <a:solidFill>
                        <a:srgbClr val="FFFFFF"/>
                      </a:solidFill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321" name="TextBox 107">
                      <a:extLst>
                        <a:ext uri="{FF2B5EF4-FFF2-40B4-BE49-F238E27FC236}">
                          <a16:creationId xmlns:a16="http://schemas.microsoft.com/office/drawing/2014/main" id="{836EA093-6F30-F53A-4807-5C8D001B13D3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28856" y="2758153"/>
                      <a:ext cx="3174944" cy="581616"/>
                    </a:xfrm>
                    <a:prstGeom prst="rect">
                      <a:avLst/>
                    </a:prstGeom>
                  </p:spPr>
                  <p:txBody>
                    <a:bodyPr lIns="68146" tIns="68146" rIns="68146" bIns="68146" rtlCol="0" anchor="ctr"/>
                    <a:lstStyle/>
                    <a:p>
                      <a:pPr marL="0" lvl="0" indent="0" algn="ctr">
                        <a:lnSpc>
                          <a:spcPts val="1674"/>
                        </a:lnSpc>
                        <a:spcBef>
                          <a:spcPct val="0"/>
                        </a:spcBef>
                      </a:pPr>
                      <a:endParaRPr dirty="0"/>
                    </a:p>
                  </p:txBody>
                </p:sp>
                <p:sp>
                  <p:nvSpPr>
                    <p:cNvPr id="322" name="TextBox 197">
                      <a:extLst>
                        <a:ext uri="{FF2B5EF4-FFF2-40B4-BE49-F238E27FC236}">
                          <a16:creationId xmlns:a16="http://schemas.microsoft.com/office/drawing/2014/main" id="{DBA64865-92E5-4469-0235-DD2D7508D616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756000" y="3018846"/>
                      <a:ext cx="2107850" cy="141064"/>
                    </a:xfrm>
                    <a:prstGeom prst="rect">
                      <a:avLst/>
                    </a:prstGeom>
                  </p:spPr>
                  <p:txBody>
                    <a:bodyPr wrap="square" lIns="0" tIns="0" rIns="0" bIns="0" rtlCol="0" anchor="t">
                      <a:spAutoFit/>
                    </a:bodyPr>
                    <a:lstStyle/>
                    <a:p>
                      <a:pPr>
                        <a:lnSpc>
                          <a:spcPts val="1099"/>
                        </a:lnSpc>
                      </a:pPr>
                      <a:r>
                        <a:rPr lang="en-US" sz="999" b="1" spc="-49" dirty="0">
                          <a:solidFill>
                            <a:srgbClr val="FFFFFF"/>
                          </a:solidFill>
                          <a:latin typeface="Be Vietnam Pro" pitchFamily="2" charset="0"/>
                        </a:rPr>
                        <a:t>Koenigsegg Jesko Absolut</a:t>
                      </a:r>
                    </a:p>
                  </p:txBody>
                </p:sp>
              </p:grpSp>
              <p:grpSp>
                <p:nvGrpSpPr>
                  <p:cNvPr id="300" name="Group 299">
                    <a:extLst>
                      <a:ext uri="{FF2B5EF4-FFF2-40B4-BE49-F238E27FC236}">
                        <a16:creationId xmlns:a16="http://schemas.microsoft.com/office/drawing/2014/main" id="{72DC6D93-72E6-6722-8147-FB21A7EF4150}"/>
                      </a:ext>
                    </a:extLst>
                  </p:cNvPr>
                  <p:cNvGrpSpPr/>
                  <p:nvPr/>
                </p:nvGrpSpPr>
                <p:grpSpPr>
                  <a:xfrm>
                    <a:off x="528856" y="4083571"/>
                    <a:ext cx="3174944" cy="581616"/>
                    <a:chOff x="528856" y="2758153"/>
                    <a:chExt cx="3174944" cy="581616"/>
                  </a:xfrm>
                </p:grpSpPr>
                <p:sp>
                  <p:nvSpPr>
                    <p:cNvPr id="313" name="Freeform 106">
                      <a:extLst>
                        <a:ext uri="{FF2B5EF4-FFF2-40B4-BE49-F238E27FC236}">
                          <a16:creationId xmlns:a16="http://schemas.microsoft.com/office/drawing/2014/main" id="{753F8874-E53B-1D48-EA3F-8CA5673409F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28856" y="2829460"/>
                      <a:ext cx="3174944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48198" h="136331">
                          <a:moveTo>
                            <a:pt x="0" y="0"/>
                          </a:moveTo>
                          <a:lnTo>
                            <a:pt x="848198" y="0"/>
                          </a:lnTo>
                          <a:lnTo>
                            <a:pt x="848198" y="136331"/>
                          </a:lnTo>
                          <a:lnTo>
                            <a:pt x="0" y="136331"/>
                          </a:lnTo>
                          <a:close/>
                        </a:path>
                      </a:pathLst>
                    </a:custGeom>
                    <a:gradFill rotWithShape="1">
                      <a:gsLst>
                        <a:gs pos="0">
                          <a:srgbClr val="3B5E8F">
                            <a:alpha val="50000"/>
                          </a:srgbClr>
                        </a:gs>
                        <a:gs pos="100000">
                          <a:srgbClr val="FFFFFF">
                            <a:alpha val="50000"/>
                          </a:srgbClr>
                        </a:gs>
                      </a:gsLst>
                      <a:lin ang="0"/>
                    </a:gradFill>
                    <a:ln cap="sq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314" name="Freeform 109">
                      <a:extLst>
                        <a:ext uri="{FF2B5EF4-FFF2-40B4-BE49-F238E27FC236}">
                          <a16:creationId xmlns:a16="http://schemas.microsoft.com/office/drawing/2014/main" id="{FF7E1B8A-684B-95AB-780A-DFC3B433FF8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28856" y="2829460"/>
                      <a:ext cx="3174944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48198" h="136331">
                          <a:moveTo>
                            <a:pt x="0" y="0"/>
                          </a:moveTo>
                          <a:lnTo>
                            <a:pt x="848198" y="0"/>
                          </a:lnTo>
                          <a:lnTo>
                            <a:pt x="848198" y="136331"/>
                          </a:lnTo>
                          <a:lnTo>
                            <a:pt x="0" y="136331"/>
                          </a:lnTo>
                          <a:close/>
                        </a:path>
                      </a:pathLst>
                    </a:custGeom>
                    <a:solidFill>
                      <a:srgbClr val="3B5E8F">
                        <a:alpha val="29804"/>
                      </a:srgbClr>
                    </a:solidFill>
                    <a:ln w="9525" cap="sq">
                      <a:solidFill>
                        <a:srgbClr val="FFFFFF">
                          <a:alpha val="29804"/>
                        </a:srgbClr>
                      </a:solidFill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315" name="Freeform 112">
                      <a:extLst>
                        <a:ext uri="{FF2B5EF4-FFF2-40B4-BE49-F238E27FC236}">
                          <a16:creationId xmlns:a16="http://schemas.microsoft.com/office/drawing/2014/main" id="{6BCBFFCC-B9BF-4B22-5706-6F408C589BF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193491" y="2829460"/>
                      <a:ext cx="510309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82883" h="182883">
                          <a:moveTo>
                            <a:pt x="0" y="0"/>
                          </a:moveTo>
                          <a:lnTo>
                            <a:pt x="182883" y="0"/>
                          </a:lnTo>
                          <a:lnTo>
                            <a:pt x="182883" y="182883"/>
                          </a:lnTo>
                          <a:lnTo>
                            <a:pt x="0" y="182883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sq">
                      <a:solidFill>
                        <a:srgbClr val="FFFFFF"/>
                      </a:solidFill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316" name="TextBox 107">
                      <a:extLst>
                        <a:ext uri="{FF2B5EF4-FFF2-40B4-BE49-F238E27FC236}">
                          <a16:creationId xmlns:a16="http://schemas.microsoft.com/office/drawing/2014/main" id="{9F26F074-F3B1-8447-1F77-756781AE70D9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28856" y="2758153"/>
                      <a:ext cx="3174944" cy="581616"/>
                    </a:xfrm>
                    <a:prstGeom prst="rect">
                      <a:avLst/>
                    </a:prstGeom>
                  </p:spPr>
                  <p:txBody>
                    <a:bodyPr lIns="68146" tIns="68146" rIns="68146" bIns="68146" rtlCol="0" anchor="ctr"/>
                    <a:lstStyle/>
                    <a:p>
                      <a:pPr marL="0" lvl="0" indent="0" algn="ctr">
                        <a:lnSpc>
                          <a:spcPts val="1674"/>
                        </a:lnSpc>
                        <a:spcBef>
                          <a:spcPct val="0"/>
                        </a:spcBef>
                      </a:pPr>
                      <a:endParaRPr dirty="0"/>
                    </a:p>
                  </p:txBody>
                </p:sp>
                <p:sp>
                  <p:nvSpPr>
                    <p:cNvPr id="317" name="TextBox 197">
                      <a:extLst>
                        <a:ext uri="{FF2B5EF4-FFF2-40B4-BE49-F238E27FC236}">
                          <a16:creationId xmlns:a16="http://schemas.microsoft.com/office/drawing/2014/main" id="{F19CC5D9-D7FE-49A0-00B0-62A50F0524BD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756000" y="3018846"/>
                      <a:ext cx="2107850" cy="141064"/>
                    </a:xfrm>
                    <a:prstGeom prst="rect">
                      <a:avLst/>
                    </a:prstGeom>
                  </p:spPr>
                  <p:txBody>
                    <a:bodyPr wrap="square" lIns="0" tIns="0" rIns="0" bIns="0" rtlCol="0" anchor="t">
                      <a:spAutoFit/>
                    </a:bodyPr>
                    <a:lstStyle/>
                    <a:p>
                      <a:pPr>
                        <a:lnSpc>
                          <a:spcPts val="1099"/>
                        </a:lnSpc>
                      </a:pPr>
                      <a:r>
                        <a:rPr lang="en-US" sz="999" b="1" spc="-49" dirty="0">
                          <a:solidFill>
                            <a:srgbClr val="FFFFFF"/>
                          </a:solidFill>
                          <a:latin typeface="Be Vietnam Pro" pitchFamily="2" charset="0"/>
                        </a:rPr>
                        <a:t>Lamborghini Aventador SVJ</a:t>
                      </a:r>
                    </a:p>
                  </p:txBody>
                </p:sp>
              </p:grpSp>
              <p:grpSp>
                <p:nvGrpSpPr>
                  <p:cNvPr id="301" name="Group 300">
                    <a:extLst>
                      <a:ext uri="{FF2B5EF4-FFF2-40B4-BE49-F238E27FC236}">
                        <a16:creationId xmlns:a16="http://schemas.microsoft.com/office/drawing/2014/main" id="{5CA19D66-BF59-6AB4-3D32-53D8B9B211F8}"/>
                      </a:ext>
                    </a:extLst>
                  </p:cNvPr>
                  <p:cNvGrpSpPr/>
                  <p:nvPr/>
                </p:nvGrpSpPr>
                <p:grpSpPr>
                  <a:xfrm>
                    <a:off x="528856" y="4746281"/>
                    <a:ext cx="3174944" cy="581616"/>
                    <a:chOff x="528856" y="2758153"/>
                    <a:chExt cx="3174944" cy="581616"/>
                  </a:xfrm>
                </p:grpSpPr>
                <p:sp>
                  <p:nvSpPr>
                    <p:cNvPr id="308" name="Freeform 106">
                      <a:extLst>
                        <a:ext uri="{FF2B5EF4-FFF2-40B4-BE49-F238E27FC236}">
                          <a16:creationId xmlns:a16="http://schemas.microsoft.com/office/drawing/2014/main" id="{5DFB4697-2208-C595-A2E3-0105505FF5B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28856" y="2829460"/>
                      <a:ext cx="3174944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48198" h="136331">
                          <a:moveTo>
                            <a:pt x="0" y="0"/>
                          </a:moveTo>
                          <a:lnTo>
                            <a:pt x="848198" y="0"/>
                          </a:lnTo>
                          <a:lnTo>
                            <a:pt x="848198" y="136331"/>
                          </a:lnTo>
                          <a:lnTo>
                            <a:pt x="0" y="136331"/>
                          </a:lnTo>
                          <a:close/>
                        </a:path>
                      </a:pathLst>
                    </a:custGeom>
                    <a:gradFill rotWithShape="1">
                      <a:gsLst>
                        <a:gs pos="0">
                          <a:srgbClr val="3B5E8F">
                            <a:alpha val="50000"/>
                          </a:srgbClr>
                        </a:gs>
                        <a:gs pos="100000">
                          <a:srgbClr val="FFFFFF">
                            <a:alpha val="50000"/>
                          </a:srgbClr>
                        </a:gs>
                      </a:gsLst>
                      <a:lin ang="0"/>
                    </a:gradFill>
                    <a:ln cap="sq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309" name="Freeform 109">
                      <a:extLst>
                        <a:ext uri="{FF2B5EF4-FFF2-40B4-BE49-F238E27FC236}">
                          <a16:creationId xmlns:a16="http://schemas.microsoft.com/office/drawing/2014/main" id="{61E48B1D-CD6F-6678-CC35-424D568ABA3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28856" y="2829460"/>
                      <a:ext cx="3174944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48198" h="136331">
                          <a:moveTo>
                            <a:pt x="0" y="0"/>
                          </a:moveTo>
                          <a:lnTo>
                            <a:pt x="848198" y="0"/>
                          </a:lnTo>
                          <a:lnTo>
                            <a:pt x="848198" y="136331"/>
                          </a:lnTo>
                          <a:lnTo>
                            <a:pt x="0" y="136331"/>
                          </a:lnTo>
                          <a:close/>
                        </a:path>
                      </a:pathLst>
                    </a:custGeom>
                    <a:solidFill>
                      <a:srgbClr val="3B5E8F">
                        <a:alpha val="29804"/>
                      </a:srgbClr>
                    </a:solidFill>
                    <a:ln w="9525" cap="sq">
                      <a:solidFill>
                        <a:srgbClr val="FFFFFF">
                          <a:alpha val="29804"/>
                        </a:srgbClr>
                      </a:solidFill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310" name="Freeform 112">
                      <a:extLst>
                        <a:ext uri="{FF2B5EF4-FFF2-40B4-BE49-F238E27FC236}">
                          <a16:creationId xmlns:a16="http://schemas.microsoft.com/office/drawing/2014/main" id="{C0FCB96A-CCFF-88DA-55D5-9289BBF580E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193491" y="2829460"/>
                      <a:ext cx="510309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82883" h="182883">
                          <a:moveTo>
                            <a:pt x="0" y="0"/>
                          </a:moveTo>
                          <a:lnTo>
                            <a:pt x="182883" y="0"/>
                          </a:lnTo>
                          <a:lnTo>
                            <a:pt x="182883" y="182883"/>
                          </a:lnTo>
                          <a:lnTo>
                            <a:pt x="0" y="182883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sq">
                      <a:solidFill>
                        <a:srgbClr val="FFFFFF"/>
                      </a:solidFill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311" name="TextBox 107">
                      <a:extLst>
                        <a:ext uri="{FF2B5EF4-FFF2-40B4-BE49-F238E27FC236}">
                          <a16:creationId xmlns:a16="http://schemas.microsoft.com/office/drawing/2014/main" id="{E49F5868-1554-A6F4-C17F-55E6760B74FC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28856" y="2758153"/>
                      <a:ext cx="3174944" cy="581616"/>
                    </a:xfrm>
                    <a:prstGeom prst="rect">
                      <a:avLst/>
                    </a:prstGeom>
                  </p:spPr>
                  <p:txBody>
                    <a:bodyPr lIns="68146" tIns="68146" rIns="68146" bIns="68146" rtlCol="0" anchor="ctr"/>
                    <a:lstStyle/>
                    <a:p>
                      <a:pPr marL="0" lvl="0" indent="0" algn="ctr">
                        <a:lnSpc>
                          <a:spcPts val="1674"/>
                        </a:lnSpc>
                        <a:spcBef>
                          <a:spcPct val="0"/>
                        </a:spcBef>
                      </a:pPr>
                      <a:endParaRPr dirty="0"/>
                    </a:p>
                  </p:txBody>
                </p:sp>
                <p:sp>
                  <p:nvSpPr>
                    <p:cNvPr id="312" name="TextBox 197">
                      <a:extLst>
                        <a:ext uri="{FF2B5EF4-FFF2-40B4-BE49-F238E27FC236}">
                          <a16:creationId xmlns:a16="http://schemas.microsoft.com/office/drawing/2014/main" id="{2B824C67-C3EE-4D57-E0A8-87EEFFC71259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756000" y="3018846"/>
                      <a:ext cx="2107850" cy="141064"/>
                    </a:xfrm>
                    <a:prstGeom prst="rect">
                      <a:avLst/>
                    </a:prstGeom>
                  </p:spPr>
                  <p:txBody>
                    <a:bodyPr wrap="square" lIns="0" tIns="0" rIns="0" bIns="0" rtlCol="0" anchor="t">
                      <a:spAutoFit/>
                    </a:bodyPr>
                    <a:lstStyle/>
                    <a:p>
                      <a:pPr>
                        <a:lnSpc>
                          <a:spcPts val="1099"/>
                        </a:lnSpc>
                      </a:pPr>
                      <a:r>
                        <a:rPr lang="en-US" sz="999" b="1" spc="-49" dirty="0">
                          <a:solidFill>
                            <a:srgbClr val="FFFFFF"/>
                          </a:solidFill>
                          <a:latin typeface="Be Vietnam Pro" pitchFamily="2" charset="0"/>
                        </a:rPr>
                        <a:t>Ferrari SF90 Stradale</a:t>
                      </a:r>
                    </a:p>
                  </p:txBody>
                </p:sp>
              </p:grpSp>
              <p:grpSp>
                <p:nvGrpSpPr>
                  <p:cNvPr id="302" name="Group 301">
                    <a:extLst>
                      <a:ext uri="{FF2B5EF4-FFF2-40B4-BE49-F238E27FC236}">
                        <a16:creationId xmlns:a16="http://schemas.microsoft.com/office/drawing/2014/main" id="{C703F8D9-5CC3-DCB8-85FF-F129B8191085}"/>
                      </a:ext>
                    </a:extLst>
                  </p:cNvPr>
                  <p:cNvGrpSpPr/>
                  <p:nvPr/>
                </p:nvGrpSpPr>
                <p:grpSpPr>
                  <a:xfrm>
                    <a:off x="528856" y="5408991"/>
                    <a:ext cx="3174944" cy="581616"/>
                    <a:chOff x="528856" y="2758153"/>
                    <a:chExt cx="3174944" cy="581616"/>
                  </a:xfrm>
                </p:grpSpPr>
                <p:sp>
                  <p:nvSpPr>
                    <p:cNvPr id="303" name="Freeform 106">
                      <a:extLst>
                        <a:ext uri="{FF2B5EF4-FFF2-40B4-BE49-F238E27FC236}">
                          <a16:creationId xmlns:a16="http://schemas.microsoft.com/office/drawing/2014/main" id="{26EAD581-09C8-DA05-91D0-8DAB74701D8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28856" y="2829460"/>
                      <a:ext cx="3174944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48198" h="136331">
                          <a:moveTo>
                            <a:pt x="0" y="0"/>
                          </a:moveTo>
                          <a:lnTo>
                            <a:pt x="848198" y="0"/>
                          </a:lnTo>
                          <a:lnTo>
                            <a:pt x="848198" y="136331"/>
                          </a:lnTo>
                          <a:lnTo>
                            <a:pt x="0" y="136331"/>
                          </a:lnTo>
                          <a:close/>
                        </a:path>
                      </a:pathLst>
                    </a:custGeom>
                    <a:gradFill rotWithShape="1">
                      <a:gsLst>
                        <a:gs pos="0">
                          <a:srgbClr val="3B5E8F">
                            <a:alpha val="50000"/>
                          </a:srgbClr>
                        </a:gs>
                        <a:gs pos="100000">
                          <a:srgbClr val="FFFFFF">
                            <a:alpha val="50000"/>
                          </a:srgbClr>
                        </a:gs>
                      </a:gsLst>
                      <a:lin ang="0"/>
                    </a:gradFill>
                    <a:ln cap="sq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304" name="Freeform 109">
                      <a:extLst>
                        <a:ext uri="{FF2B5EF4-FFF2-40B4-BE49-F238E27FC236}">
                          <a16:creationId xmlns:a16="http://schemas.microsoft.com/office/drawing/2014/main" id="{2C645E87-9410-B2C2-4015-F3F98B82EAD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28856" y="2829460"/>
                      <a:ext cx="3174944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48198" h="136331">
                          <a:moveTo>
                            <a:pt x="0" y="0"/>
                          </a:moveTo>
                          <a:lnTo>
                            <a:pt x="848198" y="0"/>
                          </a:lnTo>
                          <a:lnTo>
                            <a:pt x="848198" y="136331"/>
                          </a:lnTo>
                          <a:lnTo>
                            <a:pt x="0" y="136331"/>
                          </a:lnTo>
                          <a:close/>
                        </a:path>
                      </a:pathLst>
                    </a:custGeom>
                    <a:solidFill>
                      <a:srgbClr val="3B5E8F">
                        <a:alpha val="29804"/>
                      </a:srgbClr>
                    </a:solidFill>
                    <a:ln w="9525" cap="sq">
                      <a:solidFill>
                        <a:srgbClr val="FFFFFF">
                          <a:alpha val="29804"/>
                        </a:srgbClr>
                      </a:solidFill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305" name="Freeform 112">
                      <a:extLst>
                        <a:ext uri="{FF2B5EF4-FFF2-40B4-BE49-F238E27FC236}">
                          <a16:creationId xmlns:a16="http://schemas.microsoft.com/office/drawing/2014/main" id="{D7D8F28C-55B5-954E-94FF-5EF9C197C81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193491" y="2829460"/>
                      <a:ext cx="510309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82883" h="182883">
                          <a:moveTo>
                            <a:pt x="0" y="0"/>
                          </a:moveTo>
                          <a:lnTo>
                            <a:pt x="182883" y="0"/>
                          </a:lnTo>
                          <a:lnTo>
                            <a:pt x="182883" y="182883"/>
                          </a:lnTo>
                          <a:lnTo>
                            <a:pt x="0" y="182883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sq">
                      <a:solidFill>
                        <a:srgbClr val="FFFFFF"/>
                      </a:solidFill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306" name="TextBox 107">
                      <a:extLst>
                        <a:ext uri="{FF2B5EF4-FFF2-40B4-BE49-F238E27FC236}">
                          <a16:creationId xmlns:a16="http://schemas.microsoft.com/office/drawing/2014/main" id="{1720E584-9E1F-4F44-405C-E15F16B30888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28856" y="2758153"/>
                      <a:ext cx="3174944" cy="581616"/>
                    </a:xfrm>
                    <a:prstGeom prst="rect">
                      <a:avLst/>
                    </a:prstGeom>
                  </p:spPr>
                  <p:txBody>
                    <a:bodyPr lIns="68146" tIns="68146" rIns="68146" bIns="68146" rtlCol="0" anchor="ctr"/>
                    <a:lstStyle/>
                    <a:p>
                      <a:pPr marL="0" lvl="0" indent="0" algn="ctr">
                        <a:lnSpc>
                          <a:spcPts val="1674"/>
                        </a:lnSpc>
                        <a:spcBef>
                          <a:spcPct val="0"/>
                        </a:spcBef>
                      </a:pPr>
                      <a:endParaRPr dirty="0"/>
                    </a:p>
                  </p:txBody>
                </p:sp>
                <p:sp>
                  <p:nvSpPr>
                    <p:cNvPr id="307" name="TextBox 197">
                      <a:extLst>
                        <a:ext uri="{FF2B5EF4-FFF2-40B4-BE49-F238E27FC236}">
                          <a16:creationId xmlns:a16="http://schemas.microsoft.com/office/drawing/2014/main" id="{48CCBA37-C72C-E04E-5C94-9A9442D8E5F2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756000" y="3018846"/>
                      <a:ext cx="2107850" cy="141064"/>
                    </a:xfrm>
                    <a:prstGeom prst="rect">
                      <a:avLst/>
                    </a:prstGeom>
                  </p:spPr>
                  <p:txBody>
                    <a:bodyPr wrap="square" lIns="0" tIns="0" rIns="0" bIns="0" rtlCol="0" anchor="t">
                      <a:spAutoFit/>
                    </a:bodyPr>
                    <a:lstStyle/>
                    <a:p>
                      <a:pPr>
                        <a:lnSpc>
                          <a:spcPts val="1099"/>
                        </a:lnSpc>
                      </a:pPr>
                      <a:r>
                        <a:rPr lang="en-US" sz="999" b="1" spc="-49" dirty="0">
                          <a:solidFill>
                            <a:srgbClr val="FFFFFF"/>
                          </a:solidFill>
                          <a:latin typeface="Be Vietnam Pro" pitchFamily="2" charset="0"/>
                        </a:rPr>
                        <a:t>McLaren 765LT</a:t>
                      </a:r>
                    </a:p>
                  </p:txBody>
                </p:sp>
              </p:grpSp>
            </p:grpSp>
            <p:grpSp>
              <p:nvGrpSpPr>
                <p:cNvPr id="267" name="Group 266">
                  <a:extLst>
                    <a:ext uri="{FF2B5EF4-FFF2-40B4-BE49-F238E27FC236}">
                      <a16:creationId xmlns:a16="http://schemas.microsoft.com/office/drawing/2014/main" id="{10AFEFE9-866E-3578-D864-44110FBA034F}"/>
                    </a:ext>
                  </a:extLst>
                </p:cNvPr>
                <p:cNvGrpSpPr/>
                <p:nvPr/>
              </p:nvGrpSpPr>
              <p:grpSpPr>
                <a:xfrm>
                  <a:off x="3863933" y="2758153"/>
                  <a:ext cx="3174944" cy="3232454"/>
                  <a:chOff x="528856" y="2758153"/>
                  <a:chExt cx="3174944" cy="3232454"/>
                </a:xfrm>
              </p:grpSpPr>
              <p:grpSp>
                <p:nvGrpSpPr>
                  <p:cNvPr id="268" name="Group 267">
                    <a:extLst>
                      <a:ext uri="{FF2B5EF4-FFF2-40B4-BE49-F238E27FC236}">
                        <a16:creationId xmlns:a16="http://schemas.microsoft.com/office/drawing/2014/main" id="{D05DCABE-1C45-0C4D-4F5B-E170320A9F55}"/>
                      </a:ext>
                    </a:extLst>
                  </p:cNvPr>
                  <p:cNvGrpSpPr/>
                  <p:nvPr/>
                </p:nvGrpSpPr>
                <p:grpSpPr>
                  <a:xfrm>
                    <a:off x="528856" y="2758153"/>
                    <a:ext cx="3174944" cy="581616"/>
                    <a:chOff x="528856" y="2758153"/>
                    <a:chExt cx="3174944" cy="581616"/>
                  </a:xfrm>
                </p:grpSpPr>
                <p:sp>
                  <p:nvSpPr>
                    <p:cNvPr id="293" name="Freeform 106">
                      <a:extLst>
                        <a:ext uri="{FF2B5EF4-FFF2-40B4-BE49-F238E27FC236}">
                          <a16:creationId xmlns:a16="http://schemas.microsoft.com/office/drawing/2014/main" id="{ACB6F3F9-3FE4-6AEB-472F-6F5FA3631E4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28856" y="2829460"/>
                      <a:ext cx="3174944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48198" h="136331">
                          <a:moveTo>
                            <a:pt x="0" y="0"/>
                          </a:moveTo>
                          <a:lnTo>
                            <a:pt x="848198" y="0"/>
                          </a:lnTo>
                          <a:lnTo>
                            <a:pt x="848198" y="136331"/>
                          </a:lnTo>
                          <a:lnTo>
                            <a:pt x="0" y="136331"/>
                          </a:lnTo>
                          <a:close/>
                        </a:path>
                      </a:pathLst>
                    </a:custGeom>
                    <a:gradFill rotWithShape="1">
                      <a:gsLst>
                        <a:gs pos="0">
                          <a:srgbClr val="3B5E8F">
                            <a:alpha val="50000"/>
                          </a:srgbClr>
                        </a:gs>
                        <a:gs pos="100000">
                          <a:srgbClr val="FFFFFF">
                            <a:alpha val="50000"/>
                          </a:srgbClr>
                        </a:gs>
                      </a:gsLst>
                      <a:lin ang="0"/>
                    </a:gradFill>
                    <a:ln cap="sq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294" name="Freeform 109">
                      <a:extLst>
                        <a:ext uri="{FF2B5EF4-FFF2-40B4-BE49-F238E27FC236}">
                          <a16:creationId xmlns:a16="http://schemas.microsoft.com/office/drawing/2014/main" id="{B780D5AF-1BF5-CEA5-D0EE-561F3CD2518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28856" y="2829460"/>
                      <a:ext cx="3174944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48198" h="136331">
                          <a:moveTo>
                            <a:pt x="0" y="0"/>
                          </a:moveTo>
                          <a:lnTo>
                            <a:pt x="848198" y="0"/>
                          </a:lnTo>
                          <a:lnTo>
                            <a:pt x="848198" y="136331"/>
                          </a:lnTo>
                          <a:lnTo>
                            <a:pt x="0" y="136331"/>
                          </a:lnTo>
                          <a:close/>
                        </a:path>
                      </a:pathLst>
                    </a:custGeom>
                    <a:solidFill>
                      <a:srgbClr val="3B5E8F">
                        <a:alpha val="29804"/>
                      </a:srgbClr>
                    </a:solidFill>
                    <a:ln w="9525" cap="sq">
                      <a:solidFill>
                        <a:srgbClr val="FFFFFF">
                          <a:alpha val="29804"/>
                        </a:srgbClr>
                      </a:solidFill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295" name="Freeform 112">
                      <a:extLst>
                        <a:ext uri="{FF2B5EF4-FFF2-40B4-BE49-F238E27FC236}">
                          <a16:creationId xmlns:a16="http://schemas.microsoft.com/office/drawing/2014/main" id="{11B68940-0237-0E65-50CF-56730B38041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193491" y="2829460"/>
                      <a:ext cx="510309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82883" h="182883">
                          <a:moveTo>
                            <a:pt x="0" y="0"/>
                          </a:moveTo>
                          <a:lnTo>
                            <a:pt x="182883" y="0"/>
                          </a:lnTo>
                          <a:lnTo>
                            <a:pt x="182883" y="182883"/>
                          </a:lnTo>
                          <a:lnTo>
                            <a:pt x="0" y="182883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sq">
                      <a:solidFill>
                        <a:srgbClr val="FFFFFF"/>
                      </a:solidFill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296" name="TextBox 107">
                      <a:extLst>
                        <a:ext uri="{FF2B5EF4-FFF2-40B4-BE49-F238E27FC236}">
                          <a16:creationId xmlns:a16="http://schemas.microsoft.com/office/drawing/2014/main" id="{684A001D-40F4-F2B2-4E32-D8BD301C5361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28856" y="2758153"/>
                      <a:ext cx="3174944" cy="581616"/>
                    </a:xfrm>
                    <a:prstGeom prst="rect">
                      <a:avLst/>
                    </a:prstGeom>
                  </p:spPr>
                  <p:txBody>
                    <a:bodyPr lIns="68146" tIns="68146" rIns="68146" bIns="68146" rtlCol="0" anchor="ctr"/>
                    <a:lstStyle/>
                    <a:p>
                      <a:pPr marL="0" lvl="0" indent="0" algn="ctr">
                        <a:lnSpc>
                          <a:spcPts val="1674"/>
                        </a:lnSpc>
                        <a:spcBef>
                          <a:spcPct val="0"/>
                        </a:spcBef>
                      </a:pPr>
                      <a:endParaRPr dirty="0"/>
                    </a:p>
                  </p:txBody>
                </p:sp>
                <p:sp>
                  <p:nvSpPr>
                    <p:cNvPr id="297" name="TextBox 197">
                      <a:extLst>
                        <a:ext uri="{FF2B5EF4-FFF2-40B4-BE49-F238E27FC236}">
                          <a16:creationId xmlns:a16="http://schemas.microsoft.com/office/drawing/2014/main" id="{32B40FA4-E199-341A-AEB9-62C05ABF41D7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756000" y="3018846"/>
                      <a:ext cx="2107850" cy="141064"/>
                    </a:xfrm>
                    <a:prstGeom prst="rect">
                      <a:avLst/>
                    </a:prstGeom>
                  </p:spPr>
                  <p:txBody>
                    <a:bodyPr wrap="square" lIns="0" tIns="0" rIns="0" bIns="0" rtlCol="0" anchor="t">
                      <a:spAutoFit/>
                    </a:bodyPr>
                    <a:lstStyle/>
                    <a:p>
                      <a:pPr>
                        <a:lnSpc>
                          <a:spcPts val="1099"/>
                        </a:lnSpc>
                      </a:pPr>
                      <a:r>
                        <a:rPr lang="en-US" sz="999" b="1" spc="-49" dirty="0">
                          <a:solidFill>
                            <a:srgbClr val="FFFFFF"/>
                          </a:solidFill>
                          <a:latin typeface="Be Vietnam Pro" pitchFamily="2" charset="0"/>
                        </a:rPr>
                        <a:t>Dodge Challenger SRT Demon</a:t>
                      </a:r>
                    </a:p>
                  </p:txBody>
                </p:sp>
              </p:grpSp>
              <p:grpSp>
                <p:nvGrpSpPr>
                  <p:cNvPr id="269" name="Group 268">
                    <a:extLst>
                      <a:ext uri="{FF2B5EF4-FFF2-40B4-BE49-F238E27FC236}">
                        <a16:creationId xmlns:a16="http://schemas.microsoft.com/office/drawing/2014/main" id="{B2454B5B-89BB-B754-5423-A21C23947F15}"/>
                      </a:ext>
                    </a:extLst>
                  </p:cNvPr>
                  <p:cNvGrpSpPr/>
                  <p:nvPr/>
                </p:nvGrpSpPr>
                <p:grpSpPr>
                  <a:xfrm>
                    <a:off x="528856" y="3420862"/>
                    <a:ext cx="3174944" cy="581616"/>
                    <a:chOff x="528856" y="2758153"/>
                    <a:chExt cx="3174944" cy="581616"/>
                  </a:xfrm>
                </p:grpSpPr>
                <p:sp>
                  <p:nvSpPr>
                    <p:cNvPr id="288" name="Freeform 106">
                      <a:extLst>
                        <a:ext uri="{FF2B5EF4-FFF2-40B4-BE49-F238E27FC236}">
                          <a16:creationId xmlns:a16="http://schemas.microsoft.com/office/drawing/2014/main" id="{DE4D4343-F6A6-EDC1-E810-291199ECC1D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28856" y="2829460"/>
                      <a:ext cx="3174944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48198" h="136331">
                          <a:moveTo>
                            <a:pt x="0" y="0"/>
                          </a:moveTo>
                          <a:lnTo>
                            <a:pt x="848198" y="0"/>
                          </a:lnTo>
                          <a:lnTo>
                            <a:pt x="848198" y="136331"/>
                          </a:lnTo>
                          <a:lnTo>
                            <a:pt x="0" y="136331"/>
                          </a:lnTo>
                          <a:close/>
                        </a:path>
                      </a:pathLst>
                    </a:custGeom>
                    <a:gradFill rotWithShape="1">
                      <a:gsLst>
                        <a:gs pos="0">
                          <a:srgbClr val="3B5E8F">
                            <a:alpha val="50000"/>
                          </a:srgbClr>
                        </a:gs>
                        <a:gs pos="100000">
                          <a:srgbClr val="FFFFFF">
                            <a:alpha val="50000"/>
                          </a:srgbClr>
                        </a:gs>
                      </a:gsLst>
                      <a:lin ang="0"/>
                    </a:gradFill>
                    <a:ln cap="sq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289" name="Freeform 109">
                      <a:extLst>
                        <a:ext uri="{FF2B5EF4-FFF2-40B4-BE49-F238E27FC236}">
                          <a16:creationId xmlns:a16="http://schemas.microsoft.com/office/drawing/2014/main" id="{77A0E2C5-F419-EBAA-EFC3-5D0172ED5AC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28856" y="2829460"/>
                      <a:ext cx="3174944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48198" h="136331">
                          <a:moveTo>
                            <a:pt x="0" y="0"/>
                          </a:moveTo>
                          <a:lnTo>
                            <a:pt x="848198" y="0"/>
                          </a:lnTo>
                          <a:lnTo>
                            <a:pt x="848198" y="136331"/>
                          </a:lnTo>
                          <a:lnTo>
                            <a:pt x="0" y="136331"/>
                          </a:lnTo>
                          <a:close/>
                        </a:path>
                      </a:pathLst>
                    </a:custGeom>
                    <a:solidFill>
                      <a:srgbClr val="3B5E8F">
                        <a:alpha val="29804"/>
                      </a:srgbClr>
                    </a:solidFill>
                    <a:ln w="9525" cap="sq">
                      <a:solidFill>
                        <a:srgbClr val="FFFFFF">
                          <a:alpha val="29804"/>
                        </a:srgbClr>
                      </a:solidFill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290" name="Freeform 112">
                      <a:extLst>
                        <a:ext uri="{FF2B5EF4-FFF2-40B4-BE49-F238E27FC236}">
                          <a16:creationId xmlns:a16="http://schemas.microsoft.com/office/drawing/2014/main" id="{6B2E6EF6-04F4-9C50-B744-F459E66442A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193491" y="2829460"/>
                      <a:ext cx="510309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82883" h="182883">
                          <a:moveTo>
                            <a:pt x="0" y="0"/>
                          </a:moveTo>
                          <a:lnTo>
                            <a:pt x="182883" y="0"/>
                          </a:lnTo>
                          <a:lnTo>
                            <a:pt x="182883" y="182883"/>
                          </a:lnTo>
                          <a:lnTo>
                            <a:pt x="0" y="182883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sq">
                      <a:solidFill>
                        <a:srgbClr val="FFFFFF"/>
                      </a:solidFill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291" name="TextBox 107">
                      <a:extLst>
                        <a:ext uri="{FF2B5EF4-FFF2-40B4-BE49-F238E27FC236}">
                          <a16:creationId xmlns:a16="http://schemas.microsoft.com/office/drawing/2014/main" id="{FB2BFB4A-00DA-9C18-8091-4A8096D1FBAD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28856" y="2758153"/>
                      <a:ext cx="3174944" cy="581616"/>
                    </a:xfrm>
                    <a:prstGeom prst="rect">
                      <a:avLst/>
                    </a:prstGeom>
                  </p:spPr>
                  <p:txBody>
                    <a:bodyPr lIns="68146" tIns="68146" rIns="68146" bIns="68146" rtlCol="0" anchor="ctr"/>
                    <a:lstStyle/>
                    <a:p>
                      <a:pPr marL="0" lvl="0" indent="0" algn="ctr">
                        <a:lnSpc>
                          <a:spcPts val="1674"/>
                        </a:lnSpc>
                        <a:spcBef>
                          <a:spcPct val="0"/>
                        </a:spcBef>
                      </a:pPr>
                      <a:endParaRPr dirty="0"/>
                    </a:p>
                  </p:txBody>
                </p:sp>
                <p:sp>
                  <p:nvSpPr>
                    <p:cNvPr id="292" name="TextBox 197">
                      <a:extLst>
                        <a:ext uri="{FF2B5EF4-FFF2-40B4-BE49-F238E27FC236}">
                          <a16:creationId xmlns:a16="http://schemas.microsoft.com/office/drawing/2014/main" id="{89E52B45-E958-3C53-EC5B-7CC141B408AD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756000" y="3018846"/>
                      <a:ext cx="2107850" cy="141064"/>
                    </a:xfrm>
                    <a:prstGeom prst="rect">
                      <a:avLst/>
                    </a:prstGeom>
                  </p:spPr>
                  <p:txBody>
                    <a:bodyPr wrap="square" lIns="0" tIns="0" rIns="0" bIns="0" rtlCol="0" anchor="t">
                      <a:spAutoFit/>
                    </a:bodyPr>
                    <a:lstStyle/>
                    <a:p>
                      <a:pPr>
                        <a:lnSpc>
                          <a:spcPts val="1099"/>
                        </a:lnSpc>
                      </a:pPr>
                      <a:r>
                        <a:rPr lang="en-US" sz="999" b="1" spc="-49" dirty="0">
                          <a:solidFill>
                            <a:srgbClr val="FFFFFF"/>
                          </a:solidFill>
                          <a:latin typeface="Be Vietnam Pro" pitchFamily="2" charset="0"/>
                        </a:rPr>
                        <a:t>Porsche 911 Turbo S</a:t>
                      </a:r>
                    </a:p>
                  </p:txBody>
                </p:sp>
              </p:grpSp>
              <p:grpSp>
                <p:nvGrpSpPr>
                  <p:cNvPr id="270" name="Group 269">
                    <a:extLst>
                      <a:ext uri="{FF2B5EF4-FFF2-40B4-BE49-F238E27FC236}">
                        <a16:creationId xmlns:a16="http://schemas.microsoft.com/office/drawing/2014/main" id="{475D237F-0E8E-21EC-4B46-E41B4874CBC5}"/>
                      </a:ext>
                    </a:extLst>
                  </p:cNvPr>
                  <p:cNvGrpSpPr/>
                  <p:nvPr/>
                </p:nvGrpSpPr>
                <p:grpSpPr>
                  <a:xfrm>
                    <a:off x="528856" y="4083571"/>
                    <a:ext cx="3174944" cy="581616"/>
                    <a:chOff x="528856" y="2758153"/>
                    <a:chExt cx="3174944" cy="581616"/>
                  </a:xfrm>
                </p:grpSpPr>
                <p:sp>
                  <p:nvSpPr>
                    <p:cNvPr id="283" name="Freeform 106">
                      <a:extLst>
                        <a:ext uri="{FF2B5EF4-FFF2-40B4-BE49-F238E27FC236}">
                          <a16:creationId xmlns:a16="http://schemas.microsoft.com/office/drawing/2014/main" id="{BFF95B9F-687C-510E-2153-CEB085B5320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28856" y="2829460"/>
                      <a:ext cx="3174944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48198" h="136331">
                          <a:moveTo>
                            <a:pt x="0" y="0"/>
                          </a:moveTo>
                          <a:lnTo>
                            <a:pt x="848198" y="0"/>
                          </a:lnTo>
                          <a:lnTo>
                            <a:pt x="848198" y="136331"/>
                          </a:lnTo>
                          <a:lnTo>
                            <a:pt x="0" y="136331"/>
                          </a:lnTo>
                          <a:close/>
                        </a:path>
                      </a:pathLst>
                    </a:custGeom>
                    <a:gradFill rotWithShape="1">
                      <a:gsLst>
                        <a:gs pos="0">
                          <a:srgbClr val="3B5E8F">
                            <a:alpha val="50000"/>
                          </a:srgbClr>
                        </a:gs>
                        <a:gs pos="100000">
                          <a:srgbClr val="FFFFFF">
                            <a:alpha val="50000"/>
                          </a:srgbClr>
                        </a:gs>
                      </a:gsLst>
                      <a:lin ang="0"/>
                    </a:gradFill>
                    <a:ln cap="sq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284" name="Freeform 109">
                      <a:extLst>
                        <a:ext uri="{FF2B5EF4-FFF2-40B4-BE49-F238E27FC236}">
                          <a16:creationId xmlns:a16="http://schemas.microsoft.com/office/drawing/2014/main" id="{DA9A0A7C-2046-1744-E753-9A97C714EDD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28856" y="2829460"/>
                      <a:ext cx="3174944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48198" h="136331">
                          <a:moveTo>
                            <a:pt x="0" y="0"/>
                          </a:moveTo>
                          <a:lnTo>
                            <a:pt x="848198" y="0"/>
                          </a:lnTo>
                          <a:lnTo>
                            <a:pt x="848198" y="136331"/>
                          </a:lnTo>
                          <a:lnTo>
                            <a:pt x="0" y="136331"/>
                          </a:lnTo>
                          <a:close/>
                        </a:path>
                      </a:pathLst>
                    </a:custGeom>
                    <a:solidFill>
                      <a:srgbClr val="3B5E8F">
                        <a:alpha val="29804"/>
                      </a:srgbClr>
                    </a:solidFill>
                    <a:ln w="9525" cap="sq">
                      <a:solidFill>
                        <a:srgbClr val="FFFFFF">
                          <a:alpha val="29804"/>
                        </a:srgbClr>
                      </a:solidFill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285" name="Freeform 112">
                      <a:extLst>
                        <a:ext uri="{FF2B5EF4-FFF2-40B4-BE49-F238E27FC236}">
                          <a16:creationId xmlns:a16="http://schemas.microsoft.com/office/drawing/2014/main" id="{91429D50-D033-36D8-5915-F4B2FB4A614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193491" y="2829460"/>
                      <a:ext cx="510309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82883" h="182883">
                          <a:moveTo>
                            <a:pt x="0" y="0"/>
                          </a:moveTo>
                          <a:lnTo>
                            <a:pt x="182883" y="0"/>
                          </a:lnTo>
                          <a:lnTo>
                            <a:pt x="182883" y="182883"/>
                          </a:lnTo>
                          <a:lnTo>
                            <a:pt x="0" y="182883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sq">
                      <a:solidFill>
                        <a:srgbClr val="FFFFFF"/>
                      </a:solidFill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286" name="TextBox 107">
                      <a:extLst>
                        <a:ext uri="{FF2B5EF4-FFF2-40B4-BE49-F238E27FC236}">
                          <a16:creationId xmlns:a16="http://schemas.microsoft.com/office/drawing/2014/main" id="{84B68F2C-A4F3-B9AA-30D4-D7A918EA01A8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28856" y="2758153"/>
                      <a:ext cx="3174944" cy="581616"/>
                    </a:xfrm>
                    <a:prstGeom prst="rect">
                      <a:avLst/>
                    </a:prstGeom>
                  </p:spPr>
                  <p:txBody>
                    <a:bodyPr lIns="68146" tIns="68146" rIns="68146" bIns="68146" rtlCol="0" anchor="ctr"/>
                    <a:lstStyle/>
                    <a:p>
                      <a:pPr marL="0" lvl="0" indent="0" algn="ctr">
                        <a:lnSpc>
                          <a:spcPts val="1674"/>
                        </a:lnSpc>
                        <a:spcBef>
                          <a:spcPct val="0"/>
                        </a:spcBef>
                      </a:pPr>
                      <a:endParaRPr dirty="0"/>
                    </a:p>
                  </p:txBody>
                </p:sp>
                <p:sp>
                  <p:nvSpPr>
                    <p:cNvPr id="287" name="TextBox 197">
                      <a:extLst>
                        <a:ext uri="{FF2B5EF4-FFF2-40B4-BE49-F238E27FC236}">
                          <a16:creationId xmlns:a16="http://schemas.microsoft.com/office/drawing/2014/main" id="{7AC3FEC5-ABA3-5AE8-D379-7828C77902FB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756000" y="3018846"/>
                      <a:ext cx="2107850" cy="141064"/>
                    </a:xfrm>
                    <a:prstGeom prst="rect">
                      <a:avLst/>
                    </a:prstGeom>
                  </p:spPr>
                  <p:txBody>
                    <a:bodyPr wrap="square" lIns="0" tIns="0" rIns="0" bIns="0" rtlCol="0" anchor="t">
                      <a:spAutoFit/>
                    </a:bodyPr>
                    <a:lstStyle/>
                    <a:p>
                      <a:pPr>
                        <a:lnSpc>
                          <a:spcPts val="1099"/>
                        </a:lnSpc>
                      </a:pPr>
                      <a:r>
                        <a:rPr lang="en-US" sz="999" b="1" spc="-49" dirty="0">
                          <a:solidFill>
                            <a:srgbClr val="FFFFFF"/>
                          </a:solidFill>
                          <a:latin typeface="Be Vietnam Pro" pitchFamily="2" charset="0"/>
                        </a:rPr>
                        <a:t>Chevrolet Corvette Z06</a:t>
                      </a:r>
                    </a:p>
                  </p:txBody>
                </p:sp>
              </p:grpSp>
              <p:grpSp>
                <p:nvGrpSpPr>
                  <p:cNvPr id="271" name="Group 270">
                    <a:extLst>
                      <a:ext uri="{FF2B5EF4-FFF2-40B4-BE49-F238E27FC236}">
                        <a16:creationId xmlns:a16="http://schemas.microsoft.com/office/drawing/2014/main" id="{36FF0347-0515-BAF0-1944-A121F656B10D}"/>
                      </a:ext>
                    </a:extLst>
                  </p:cNvPr>
                  <p:cNvGrpSpPr/>
                  <p:nvPr/>
                </p:nvGrpSpPr>
                <p:grpSpPr>
                  <a:xfrm>
                    <a:off x="528856" y="4746281"/>
                    <a:ext cx="3174944" cy="581616"/>
                    <a:chOff x="528856" y="2758153"/>
                    <a:chExt cx="3174944" cy="581616"/>
                  </a:xfrm>
                </p:grpSpPr>
                <p:sp>
                  <p:nvSpPr>
                    <p:cNvPr id="278" name="Freeform 106">
                      <a:extLst>
                        <a:ext uri="{FF2B5EF4-FFF2-40B4-BE49-F238E27FC236}">
                          <a16:creationId xmlns:a16="http://schemas.microsoft.com/office/drawing/2014/main" id="{FB08535B-DB4C-8195-81B7-487577493AC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28856" y="2829460"/>
                      <a:ext cx="3174944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48198" h="136331">
                          <a:moveTo>
                            <a:pt x="0" y="0"/>
                          </a:moveTo>
                          <a:lnTo>
                            <a:pt x="848198" y="0"/>
                          </a:lnTo>
                          <a:lnTo>
                            <a:pt x="848198" y="136331"/>
                          </a:lnTo>
                          <a:lnTo>
                            <a:pt x="0" y="136331"/>
                          </a:lnTo>
                          <a:close/>
                        </a:path>
                      </a:pathLst>
                    </a:custGeom>
                    <a:gradFill rotWithShape="1">
                      <a:gsLst>
                        <a:gs pos="0">
                          <a:srgbClr val="3B5E8F">
                            <a:alpha val="50000"/>
                          </a:srgbClr>
                        </a:gs>
                        <a:gs pos="100000">
                          <a:srgbClr val="FFFFFF">
                            <a:alpha val="50000"/>
                          </a:srgbClr>
                        </a:gs>
                      </a:gsLst>
                      <a:lin ang="0"/>
                    </a:gradFill>
                    <a:ln cap="sq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279" name="Freeform 109">
                      <a:extLst>
                        <a:ext uri="{FF2B5EF4-FFF2-40B4-BE49-F238E27FC236}">
                          <a16:creationId xmlns:a16="http://schemas.microsoft.com/office/drawing/2014/main" id="{8AB1CE7F-A215-A96E-4284-F9E2C8D8661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28856" y="2829460"/>
                      <a:ext cx="3174944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48198" h="136331">
                          <a:moveTo>
                            <a:pt x="0" y="0"/>
                          </a:moveTo>
                          <a:lnTo>
                            <a:pt x="848198" y="0"/>
                          </a:lnTo>
                          <a:lnTo>
                            <a:pt x="848198" y="136331"/>
                          </a:lnTo>
                          <a:lnTo>
                            <a:pt x="0" y="136331"/>
                          </a:lnTo>
                          <a:close/>
                        </a:path>
                      </a:pathLst>
                    </a:custGeom>
                    <a:solidFill>
                      <a:srgbClr val="3B5E8F">
                        <a:alpha val="29804"/>
                      </a:srgbClr>
                    </a:solidFill>
                    <a:ln w="9525" cap="sq">
                      <a:solidFill>
                        <a:srgbClr val="FFFFFF">
                          <a:alpha val="29804"/>
                        </a:srgbClr>
                      </a:solidFill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280" name="Freeform 112">
                      <a:extLst>
                        <a:ext uri="{FF2B5EF4-FFF2-40B4-BE49-F238E27FC236}">
                          <a16:creationId xmlns:a16="http://schemas.microsoft.com/office/drawing/2014/main" id="{C96E7261-9102-3471-4E94-A5AFD79734B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193491" y="2829460"/>
                      <a:ext cx="510309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82883" h="182883">
                          <a:moveTo>
                            <a:pt x="0" y="0"/>
                          </a:moveTo>
                          <a:lnTo>
                            <a:pt x="182883" y="0"/>
                          </a:lnTo>
                          <a:lnTo>
                            <a:pt x="182883" y="182883"/>
                          </a:lnTo>
                          <a:lnTo>
                            <a:pt x="0" y="182883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sq">
                      <a:solidFill>
                        <a:srgbClr val="FFFFFF"/>
                      </a:solidFill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281" name="TextBox 107">
                      <a:extLst>
                        <a:ext uri="{FF2B5EF4-FFF2-40B4-BE49-F238E27FC236}">
                          <a16:creationId xmlns:a16="http://schemas.microsoft.com/office/drawing/2014/main" id="{1DAEDD42-26F2-E198-E4C1-B14D7B4713DD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28856" y="2758153"/>
                      <a:ext cx="3174944" cy="581616"/>
                    </a:xfrm>
                    <a:prstGeom prst="rect">
                      <a:avLst/>
                    </a:prstGeom>
                  </p:spPr>
                  <p:txBody>
                    <a:bodyPr lIns="68146" tIns="68146" rIns="68146" bIns="68146" rtlCol="0" anchor="ctr"/>
                    <a:lstStyle/>
                    <a:p>
                      <a:pPr marL="0" lvl="0" indent="0" algn="ctr">
                        <a:lnSpc>
                          <a:spcPts val="1674"/>
                        </a:lnSpc>
                        <a:spcBef>
                          <a:spcPct val="0"/>
                        </a:spcBef>
                      </a:pPr>
                      <a:endParaRPr dirty="0"/>
                    </a:p>
                  </p:txBody>
                </p:sp>
                <p:sp>
                  <p:nvSpPr>
                    <p:cNvPr id="282" name="TextBox 197">
                      <a:extLst>
                        <a:ext uri="{FF2B5EF4-FFF2-40B4-BE49-F238E27FC236}">
                          <a16:creationId xmlns:a16="http://schemas.microsoft.com/office/drawing/2014/main" id="{855C05A8-2CDA-6FB7-3287-8688692C6FE2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756000" y="3018846"/>
                      <a:ext cx="2107850" cy="141064"/>
                    </a:xfrm>
                    <a:prstGeom prst="rect">
                      <a:avLst/>
                    </a:prstGeom>
                  </p:spPr>
                  <p:txBody>
                    <a:bodyPr wrap="square" lIns="0" tIns="0" rIns="0" bIns="0" rtlCol="0" anchor="t">
                      <a:spAutoFit/>
                    </a:bodyPr>
                    <a:lstStyle/>
                    <a:p>
                      <a:pPr>
                        <a:lnSpc>
                          <a:spcPts val="1099"/>
                        </a:lnSpc>
                      </a:pPr>
                      <a:r>
                        <a:rPr lang="en-US" sz="999" b="1" spc="-49" dirty="0">
                          <a:solidFill>
                            <a:srgbClr val="FFFFFF"/>
                          </a:solidFill>
                          <a:latin typeface="Be Vietnam Pro" pitchFamily="2" charset="0"/>
                        </a:rPr>
                        <a:t>Ford Mustang Shelby GT500</a:t>
                      </a:r>
                    </a:p>
                  </p:txBody>
                </p:sp>
              </p:grpSp>
              <p:grpSp>
                <p:nvGrpSpPr>
                  <p:cNvPr id="272" name="Group 271">
                    <a:extLst>
                      <a:ext uri="{FF2B5EF4-FFF2-40B4-BE49-F238E27FC236}">
                        <a16:creationId xmlns:a16="http://schemas.microsoft.com/office/drawing/2014/main" id="{69153427-8025-D422-9EE7-0AF9DCEB4605}"/>
                      </a:ext>
                    </a:extLst>
                  </p:cNvPr>
                  <p:cNvGrpSpPr/>
                  <p:nvPr/>
                </p:nvGrpSpPr>
                <p:grpSpPr>
                  <a:xfrm>
                    <a:off x="528856" y="5408991"/>
                    <a:ext cx="3174944" cy="581616"/>
                    <a:chOff x="528856" y="2758153"/>
                    <a:chExt cx="3174944" cy="581616"/>
                  </a:xfrm>
                </p:grpSpPr>
                <p:sp>
                  <p:nvSpPr>
                    <p:cNvPr id="273" name="Freeform 106">
                      <a:extLst>
                        <a:ext uri="{FF2B5EF4-FFF2-40B4-BE49-F238E27FC236}">
                          <a16:creationId xmlns:a16="http://schemas.microsoft.com/office/drawing/2014/main" id="{DC2F9699-5BC7-70F0-5B1F-949D6B1ED8A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28856" y="2829460"/>
                      <a:ext cx="3174944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48198" h="136331">
                          <a:moveTo>
                            <a:pt x="0" y="0"/>
                          </a:moveTo>
                          <a:lnTo>
                            <a:pt x="848198" y="0"/>
                          </a:lnTo>
                          <a:lnTo>
                            <a:pt x="848198" y="136331"/>
                          </a:lnTo>
                          <a:lnTo>
                            <a:pt x="0" y="136331"/>
                          </a:lnTo>
                          <a:close/>
                        </a:path>
                      </a:pathLst>
                    </a:custGeom>
                    <a:gradFill rotWithShape="1">
                      <a:gsLst>
                        <a:gs pos="0">
                          <a:srgbClr val="3B5E8F">
                            <a:alpha val="50000"/>
                          </a:srgbClr>
                        </a:gs>
                        <a:gs pos="100000">
                          <a:srgbClr val="FFFFFF">
                            <a:alpha val="50000"/>
                          </a:srgbClr>
                        </a:gs>
                      </a:gsLst>
                      <a:lin ang="0"/>
                    </a:gradFill>
                    <a:ln cap="sq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274" name="Freeform 109">
                      <a:extLst>
                        <a:ext uri="{FF2B5EF4-FFF2-40B4-BE49-F238E27FC236}">
                          <a16:creationId xmlns:a16="http://schemas.microsoft.com/office/drawing/2014/main" id="{EC87CC1B-3E08-ED31-3BBF-023B62EC2BA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28856" y="2829460"/>
                      <a:ext cx="3174944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48198" h="136331">
                          <a:moveTo>
                            <a:pt x="0" y="0"/>
                          </a:moveTo>
                          <a:lnTo>
                            <a:pt x="848198" y="0"/>
                          </a:lnTo>
                          <a:lnTo>
                            <a:pt x="848198" y="136331"/>
                          </a:lnTo>
                          <a:lnTo>
                            <a:pt x="0" y="136331"/>
                          </a:lnTo>
                          <a:close/>
                        </a:path>
                      </a:pathLst>
                    </a:custGeom>
                    <a:solidFill>
                      <a:srgbClr val="3B5E8F">
                        <a:alpha val="29804"/>
                      </a:srgbClr>
                    </a:solidFill>
                    <a:ln w="9525" cap="sq">
                      <a:solidFill>
                        <a:srgbClr val="FFFFFF">
                          <a:alpha val="29804"/>
                        </a:srgbClr>
                      </a:solidFill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275" name="Freeform 112">
                      <a:extLst>
                        <a:ext uri="{FF2B5EF4-FFF2-40B4-BE49-F238E27FC236}">
                          <a16:creationId xmlns:a16="http://schemas.microsoft.com/office/drawing/2014/main" id="{929857AF-B1E8-112D-F58C-7CD1558684E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193491" y="2829460"/>
                      <a:ext cx="510309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82883" h="182883">
                          <a:moveTo>
                            <a:pt x="0" y="0"/>
                          </a:moveTo>
                          <a:lnTo>
                            <a:pt x="182883" y="0"/>
                          </a:lnTo>
                          <a:lnTo>
                            <a:pt x="182883" y="182883"/>
                          </a:lnTo>
                          <a:lnTo>
                            <a:pt x="0" y="182883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sq">
                      <a:solidFill>
                        <a:srgbClr val="FFFFFF"/>
                      </a:solidFill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276" name="TextBox 107">
                      <a:extLst>
                        <a:ext uri="{FF2B5EF4-FFF2-40B4-BE49-F238E27FC236}">
                          <a16:creationId xmlns:a16="http://schemas.microsoft.com/office/drawing/2014/main" id="{3A2C3604-4426-0418-55DE-DCAD54DACF35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28856" y="2758153"/>
                      <a:ext cx="3174944" cy="581616"/>
                    </a:xfrm>
                    <a:prstGeom prst="rect">
                      <a:avLst/>
                    </a:prstGeom>
                  </p:spPr>
                  <p:txBody>
                    <a:bodyPr lIns="68146" tIns="68146" rIns="68146" bIns="68146" rtlCol="0" anchor="ctr"/>
                    <a:lstStyle/>
                    <a:p>
                      <a:pPr marL="0" lvl="0" indent="0" algn="ctr">
                        <a:lnSpc>
                          <a:spcPts val="1674"/>
                        </a:lnSpc>
                        <a:spcBef>
                          <a:spcPct val="0"/>
                        </a:spcBef>
                      </a:pPr>
                      <a:endParaRPr dirty="0"/>
                    </a:p>
                  </p:txBody>
                </p:sp>
                <p:sp>
                  <p:nvSpPr>
                    <p:cNvPr id="277" name="TextBox 197">
                      <a:extLst>
                        <a:ext uri="{FF2B5EF4-FFF2-40B4-BE49-F238E27FC236}">
                          <a16:creationId xmlns:a16="http://schemas.microsoft.com/office/drawing/2014/main" id="{5CBD1BE9-35AF-0EFE-A0DB-626FA0D9EA14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756000" y="3018846"/>
                      <a:ext cx="2107850" cy="141064"/>
                    </a:xfrm>
                    <a:prstGeom prst="rect">
                      <a:avLst/>
                    </a:prstGeom>
                  </p:spPr>
                  <p:txBody>
                    <a:bodyPr wrap="square" lIns="0" tIns="0" rIns="0" bIns="0" rtlCol="0" anchor="t">
                      <a:spAutoFit/>
                    </a:bodyPr>
                    <a:lstStyle/>
                    <a:p>
                      <a:pPr>
                        <a:lnSpc>
                          <a:spcPts val="1099"/>
                        </a:lnSpc>
                      </a:pPr>
                      <a:r>
                        <a:rPr lang="en-US" sz="999" b="1" spc="-49" dirty="0">
                          <a:solidFill>
                            <a:srgbClr val="FFFFFF"/>
                          </a:solidFill>
                          <a:latin typeface="Be Vietnam Pro" pitchFamily="2" charset="0"/>
                        </a:rPr>
                        <a:t>Mercedes-AMG GT Black Series</a:t>
                      </a:r>
                    </a:p>
                  </p:txBody>
                </p:sp>
              </p:grpSp>
            </p:grpSp>
          </p:grpSp>
          <p:grpSp>
            <p:nvGrpSpPr>
              <p:cNvPr id="261" name="Group 260">
                <a:extLst>
                  <a:ext uri="{FF2B5EF4-FFF2-40B4-BE49-F238E27FC236}">
                    <a16:creationId xmlns:a16="http://schemas.microsoft.com/office/drawing/2014/main" id="{4BF45703-B21A-EA69-D41F-D703DE8C453A}"/>
                  </a:ext>
                </a:extLst>
              </p:cNvPr>
              <p:cNvGrpSpPr/>
              <p:nvPr/>
            </p:nvGrpSpPr>
            <p:grpSpPr>
              <a:xfrm>
                <a:off x="517623" y="2450093"/>
                <a:ext cx="6532488" cy="3540514"/>
                <a:chOff x="517623" y="2450093"/>
                <a:chExt cx="6532488" cy="3540514"/>
              </a:xfrm>
            </p:grpSpPr>
            <p:sp>
              <p:nvSpPr>
                <p:cNvPr id="206" name="AutoShape 206"/>
                <p:cNvSpPr/>
                <p:nvPr/>
              </p:nvSpPr>
              <p:spPr>
                <a:xfrm>
                  <a:off x="517623" y="2672298"/>
                  <a:ext cx="6521255" cy="0"/>
                </a:xfrm>
                <a:prstGeom prst="line">
                  <a:avLst/>
                </a:prstGeom>
                <a:ln w="9525" cap="flat">
                  <a:solidFill>
                    <a:srgbClr val="FFFFFF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07" name="TextBox 207"/>
                <p:cNvSpPr txBox="1"/>
                <p:nvPr/>
              </p:nvSpPr>
              <p:spPr>
                <a:xfrm>
                  <a:off x="5508568" y="2450093"/>
                  <a:ext cx="1541543" cy="141192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r">
                    <a:lnSpc>
                      <a:spcPts val="1200"/>
                    </a:lnSpc>
                  </a:pPr>
                  <a:r>
                    <a:rPr lang="en-US" sz="800" b="1" dirty="0">
                      <a:solidFill>
                        <a:srgbClr val="FFFFFF"/>
                      </a:solidFill>
                      <a:latin typeface="Be Vietnam Pro" pitchFamily="2" charset="0"/>
                    </a:rPr>
                    <a:t>01</a:t>
                  </a:r>
                </a:p>
              </p:txBody>
            </p:sp>
            <p:sp>
              <p:nvSpPr>
                <p:cNvPr id="208" name="TextBox 208"/>
                <p:cNvSpPr txBox="1"/>
                <p:nvPr/>
              </p:nvSpPr>
              <p:spPr>
                <a:xfrm>
                  <a:off x="528856" y="2450093"/>
                  <a:ext cx="2067846" cy="141192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1200"/>
                    </a:lnSpc>
                  </a:pPr>
                  <a:r>
                    <a:rPr lang="en-US" sz="800" b="1" dirty="0">
                      <a:solidFill>
                        <a:srgbClr val="FFFFFF"/>
                      </a:solidFill>
                      <a:latin typeface="Be Vietnam Pro" pitchFamily="2" charset="0"/>
                    </a:rPr>
                    <a:t>THE MOST BEAUTIFUL DESIGN</a:t>
                  </a:r>
                </a:p>
              </p:txBody>
            </p:sp>
            <p:grpSp>
              <p:nvGrpSpPr>
                <p:cNvPr id="228" name="Group 227">
                  <a:extLst>
                    <a:ext uri="{FF2B5EF4-FFF2-40B4-BE49-F238E27FC236}">
                      <a16:creationId xmlns:a16="http://schemas.microsoft.com/office/drawing/2014/main" id="{5CDD9D31-215F-2511-DB42-A39419F3C0DB}"/>
                    </a:ext>
                  </a:extLst>
                </p:cNvPr>
                <p:cNvGrpSpPr/>
                <p:nvPr/>
              </p:nvGrpSpPr>
              <p:grpSpPr>
                <a:xfrm>
                  <a:off x="528856" y="2758153"/>
                  <a:ext cx="3174944" cy="3232454"/>
                  <a:chOff x="528856" y="2758153"/>
                  <a:chExt cx="3174944" cy="3232454"/>
                </a:xfrm>
              </p:grpSpPr>
              <p:grpSp>
                <p:nvGrpSpPr>
                  <p:cNvPr id="156" name="Group 155">
                    <a:extLst>
                      <a:ext uri="{FF2B5EF4-FFF2-40B4-BE49-F238E27FC236}">
                        <a16:creationId xmlns:a16="http://schemas.microsoft.com/office/drawing/2014/main" id="{0CAF08A0-3720-DA93-BD8B-3A883880C5AA}"/>
                      </a:ext>
                    </a:extLst>
                  </p:cNvPr>
                  <p:cNvGrpSpPr/>
                  <p:nvPr/>
                </p:nvGrpSpPr>
                <p:grpSpPr>
                  <a:xfrm>
                    <a:off x="528856" y="2758153"/>
                    <a:ext cx="3174944" cy="581616"/>
                    <a:chOff x="528856" y="2758153"/>
                    <a:chExt cx="3174944" cy="581616"/>
                  </a:xfrm>
                </p:grpSpPr>
                <p:sp>
                  <p:nvSpPr>
                    <p:cNvPr id="106" name="Freeform 106"/>
                    <p:cNvSpPr/>
                    <p:nvPr/>
                  </p:nvSpPr>
                  <p:spPr>
                    <a:xfrm>
                      <a:off x="528856" y="2829460"/>
                      <a:ext cx="3174944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48198" h="136331">
                          <a:moveTo>
                            <a:pt x="0" y="0"/>
                          </a:moveTo>
                          <a:lnTo>
                            <a:pt x="848198" y="0"/>
                          </a:lnTo>
                          <a:lnTo>
                            <a:pt x="848198" y="136331"/>
                          </a:lnTo>
                          <a:lnTo>
                            <a:pt x="0" y="136331"/>
                          </a:lnTo>
                          <a:close/>
                        </a:path>
                      </a:pathLst>
                    </a:custGeom>
                    <a:gradFill rotWithShape="1">
                      <a:gsLst>
                        <a:gs pos="0">
                          <a:srgbClr val="3B5E8F">
                            <a:alpha val="50000"/>
                          </a:srgbClr>
                        </a:gs>
                        <a:gs pos="100000">
                          <a:srgbClr val="FFFFFF">
                            <a:alpha val="50000"/>
                          </a:srgbClr>
                        </a:gs>
                      </a:gsLst>
                      <a:lin ang="0"/>
                    </a:gradFill>
                    <a:ln cap="sq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09" name="Freeform 109"/>
                    <p:cNvSpPr/>
                    <p:nvPr/>
                  </p:nvSpPr>
                  <p:spPr>
                    <a:xfrm>
                      <a:off x="528856" y="2829460"/>
                      <a:ext cx="3174944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48198" h="136331">
                          <a:moveTo>
                            <a:pt x="0" y="0"/>
                          </a:moveTo>
                          <a:lnTo>
                            <a:pt x="848198" y="0"/>
                          </a:lnTo>
                          <a:lnTo>
                            <a:pt x="848198" y="136331"/>
                          </a:lnTo>
                          <a:lnTo>
                            <a:pt x="0" y="136331"/>
                          </a:lnTo>
                          <a:close/>
                        </a:path>
                      </a:pathLst>
                    </a:custGeom>
                    <a:solidFill>
                      <a:srgbClr val="3B5E8F">
                        <a:alpha val="29804"/>
                      </a:srgbClr>
                    </a:solidFill>
                    <a:ln w="9525" cap="sq">
                      <a:solidFill>
                        <a:srgbClr val="FFFFFF">
                          <a:alpha val="29804"/>
                        </a:srgbClr>
                      </a:solidFill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12" name="Freeform 112"/>
                    <p:cNvSpPr/>
                    <p:nvPr/>
                  </p:nvSpPr>
                  <p:spPr>
                    <a:xfrm>
                      <a:off x="3193491" y="2829460"/>
                      <a:ext cx="510309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82883" h="182883">
                          <a:moveTo>
                            <a:pt x="0" y="0"/>
                          </a:moveTo>
                          <a:lnTo>
                            <a:pt x="182883" y="0"/>
                          </a:lnTo>
                          <a:lnTo>
                            <a:pt x="182883" y="182883"/>
                          </a:lnTo>
                          <a:lnTo>
                            <a:pt x="0" y="182883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sq">
                      <a:solidFill>
                        <a:srgbClr val="FFFFFF"/>
                      </a:solidFill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07" name="TextBox 107"/>
                    <p:cNvSpPr txBox="1"/>
                    <p:nvPr/>
                  </p:nvSpPr>
                  <p:spPr>
                    <a:xfrm>
                      <a:off x="528856" y="2758153"/>
                      <a:ext cx="3174944" cy="581616"/>
                    </a:xfrm>
                    <a:prstGeom prst="rect">
                      <a:avLst/>
                    </a:prstGeom>
                  </p:spPr>
                  <p:txBody>
                    <a:bodyPr lIns="68146" tIns="68146" rIns="68146" bIns="68146" rtlCol="0" anchor="ctr"/>
                    <a:lstStyle/>
                    <a:p>
                      <a:pPr marL="0" lvl="0" indent="0" algn="ctr">
                        <a:lnSpc>
                          <a:spcPts val="1674"/>
                        </a:lnSpc>
                        <a:spcBef>
                          <a:spcPct val="0"/>
                        </a:spcBef>
                      </a:pPr>
                      <a:endParaRPr dirty="0"/>
                    </a:p>
                  </p:txBody>
                </p:sp>
                <p:sp>
                  <p:nvSpPr>
                    <p:cNvPr id="197" name="TextBox 197"/>
                    <p:cNvSpPr txBox="1"/>
                    <p:nvPr/>
                  </p:nvSpPr>
                  <p:spPr>
                    <a:xfrm>
                      <a:off x="756000" y="3018846"/>
                      <a:ext cx="2107850" cy="141064"/>
                    </a:xfrm>
                    <a:prstGeom prst="rect">
                      <a:avLst/>
                    </a:prstGeom>
                  </p:spPr>
                  <p:txBody>
                    <a:bodyPr wrap="square" lIns="0" tIns="0" rIns="0" bIns="0" rtlCol="0" anchor="t">
                      <a:spAutoFit/>
                    </a:bodyPr>
                    <a:lstStyle/>
                    <a:p>
                      <a:pPr>
                        <a:lnSpc>
                          <a:spcPts val="1099"/>
                        </a:lnSpc>
                      </a:pPr>
                      <a:r>
                        <a:rPr lang="en-US" sz="999" b="1" spc="-49" dirty="0">
                          <a:solidFill>
                            <a:srgbClr val="FFFFFF"/>
                          </a:solidFill>
                          <a:latin typeface="Be Vietnam Pro" pitchFamily="2" charset="0"/>
                        </a:rPr>
                        <a:t>Aston Martin DBS Superleggera</a:t>
                      </a:r>
                    </a:p>
                  </p:txBody>
                </p:sp>
              </p:grpSp>
              <p:grpSp>
                <p:nvGrpSpPr>
                  <p:cNvPr id="159" name="Group 158">
                    <a:extLst>
                      <a:ext uri="{FF2B5EF4-FFF2-40B4-BE49-F238E27FC236}">
                        <a16:creationId xmlns:a16="http://schemas.microsoft.com/office/drawing/2014/main" id="{5B055070-54EC-8CA8-0D72-6C1C67AA5ACB}"/>
                      </a:ext>
                    </a:extLst>
                  </p:cNvPr>
                  <p:cNvGrpSpPr/>
                  <p:nvPr/>
                </p:nvGrpSpPr>
                <p:grpSpPr>
                  <a:xfrm>
                    <a:off x="528856" y="3420862"/>
                    <a:ext cx="3174944" cy="581616"/>
                    <a:chOff x="528856" y="2758153"/>
                    <a:chExt cx="3174944" cy="581616"/>
                  </a:xfrm>
                </p:grpSpPr>
                <p:sp>
                  <p:nvSpPr>
                    <p:cNvPr id="162" name="Freeform 106">
                      <a:extLst>
                        <a:ext uri="{FF2B5EF4-FFF2-40B4-BE49-F238E27FC236}">
                          <a16:creationId xmlns:a16="http://schemas.microsoft.com/office/drawing/2014/main" id="{73BC0EC7-A8A6-07BE-7B5C-D9D8B1F81D4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28856" y="2829460"/>
                      <a:ext cx="3174944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48198" h="136331">
                          <a:moveTo>
                            <a:pt x="0" y="0"/>
                          </a:moveTo>
                          <a:lnTo>
                            <a:pt x="848198" y="0"/>
                          </a:lnTo>
                          <a:lnTo>
                            <a:pt x="848198" y="136331"/>
                          </a:lnTo>
                          <a:lnTo>
                            <a:pt x="0" y="136331"/>
                          </a:lnTo>
                          <a:close/>
                        </a:path>
                      </a:pathLst>
                    </a:custGeom>
                    <a:gradFill rotWithShape="1">
                      <a:gsLst>
                        <a:gs pos="0">
                          <a:srgbClr val="3B5E8F">
                            <a:alpha val="50000"/>
                          </a:srgbClr>
                        </a:gs>
                        <a:gs pos="100000">
                          <a:srgbClr val="FFFFFF">
                            <a:alpha val="50000"/>
                          </a:srgbClr>
                        </a:gs>
                      </a:gsLst>
                      <a:lin ang="0"/>
                    </a:gradFill>
                    <a:ln cap="sq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65" name="Freeform 109">
                      <a:extLst>
                        <a:ext uri="{FF2B5EF4-FFF2-40B4-BE49-F238E27FC236}">
                          <a16:creationId xmlns:a16="http://schemas.microsoft.com/office/drawing/2014/main" id="{58AEB6ED-DD7B-7823-EBAE-4042D514EB1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28856" y="2829460"/>
                      <a:ext cx="3174944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48198" h="136331">
                          <a:moveTo>
                            <a:pt x="0" y="0"/>
                          </a:moveTo>
                          <a:lnTo>
                            <a:pt x="848198" y="0"/>
                          </a:lnTo>
                          <a:lnTo>
                            <a:pt x="848198" y="136331"/>
                          </a:lnTo>
                          <a:lnTo>
                            <a:pt x="0" y="136331"/>
                          </a:lnTo>
                          <a:close/>
                        </a:path>
                      </a:pathLst>
                    </a:custGeom>
                    <a:solidFill>
                      <a:srgbClr val="3B5E8F">
                        <a:alpha val="29804"/>
                      </a:srgbClr>
                    </a:solidFill>
                    <a:ln w="9525" cap="sq">
                      <a:solidFill>
                        <a:srgbClr val="FFFFFF">
                          <a:alpha val="29804"/>
                        </a:srgbClr>
                      </a:solidFill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68" name="Freeform 112">
                      <a:extLst>
                        <a:ext uri="{FF2B5EF4-FFF2-40B4-BE49-F238E27FC236}">
                          <a16:creationId xmlns:a16="http://schemas.microsoft.com/office/drawing/2014/main" id="{585F3824-79BB-BAF8-78B8-D49A1382B59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193491" y="2829460"/>
                      <a:ext cx="510309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82883" h="182883">
                          <a:moveTo>
                            <a:pt x="0" y="0"/>
                          </a:moveTo>
                          <a:lnTo>
                            <a:pt x="182883" y="0"/>
                          </a:lnTo>
                          <a:lnTo>
                            <a:pt x="182883" y="182883"/>
                          </a:lnTo>
                          <a:lnTo>
                            <a:pt x="0" y="182883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sq">
                      <a:solidFill>
                        <a:srgbClr val="FFFFFF"/>
                      </a:solidFill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71" name="TextBox 107">
                      <a:extLst>
                        <a:ext uri="{FF2B5EF4-FFF2-40B4-BE49-F238E27FC236}">
                          <a16:creationId xmlns:a16="http://schemas.microsoft.com/office/drawing/2014/main" id="{877A4EDB-8108-E8E8-A470-83469F3BB5EF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28856" y="2758153"/>
                      <a:ext cx="3174944" cy="581616"/>
                    </a:xfrm>
                    <a:prstGeom prst="rect">
                      <a:avLst/>
                    </a:prstGeom>
                  </p:spPr>
                  <p:txBody>
                    <a:bodyPr lIns="68146" tIns="68146" rIns="68146" bIns="68146" rtlCol="0" anchor="ctr"/>
                    <a:lstStyle/>
                    <a:p>
                      <a:pPr marL="0" lvl="0" indent="0" algn="ctr">
                        <a:lnSpc>
                          <a:spcPts val="1674"/>
                        </a:lnSpc>
                        <a:spcBef>
                          <a:spcPct val="0"/>
                        </a:spcBef>
                      </a:pPr>
                      <a:endParaRPr dirty="0"/>
                    </a:p>
                  </p:txBody>
                </p:sp>
                <p:sp>
                  <p:nvSpPr>
                    <p:cNvPr id="174" name="TextBox 197">
                      <a:extLst>
                        <a:ext uri="{FF2B5EF4-FFF2-40B4-BE49-F238E27FC236}">
                          <a16:creationId xmlns:a16="http://schemas.microsoft.com/office/drawing/2014/main" id="{128EC163-D3BB-8FFB-5A46-5EDFAB156948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756000" y="3018846"/>
                      <a:ext cx="2107850" cy="141064"/>
                    </a:xfrm>
                    <a:prstGeom prst="rect">
                      <a:avLst/>
                    </a:prstGeom>
                  </p:spPr>
                  <p:txBody>
                    <a:bodyPr wrap="square" lIns="0" tIns="0" rIns="0" bIns="0" rtlCol="0" anchor="t">
                      <a:spAutoFit/>
                    </a:bodyPr>
                    <a:lstStyle/>
                    <a:p>
                      <a:pPr>
                        <a:lnSpc>
                          <a:spcPts val="1099"/>
                        </a:lnSpc>
                      </a:pPr>
                      <a:r>
                        <a:rPr lang="en-US" sz="999" b="1" spc="-49" dirty="0">
                          <a:solidFill>
                            <a:srgbClr val="FFFFFF"/>
                          </a:solidFill>
                          <a:latin typeface="Be Vietnam Pro" pitchFamily="2" charset="0"/>
                        </a:rPr>
                        <a:t>Ferrari Roma</a:t>
                      </a:r>
                    </a:p>
                  </p:txBody>
                </p:sp>
              </p:grpSp>
              <p:grpSp>
                <p:nvGrpSpPr>
                  <p:cNvPr id="177" name="Group 176">
                    <a:extLst>
                      <a:ext uri="{FF2B5EF4-FFF2-40B4-BE49-F238E27FC236}">
                        <a16:creationId xmlns:a16="http://schemas.microsoft.com/office/drawing/2014/main" id="{2B826E74-D312-EB5B-C7B9-366FE8483604}"/>
                      </a:ext>
                    </a:extLst>
                  </p:cNvPr>
                  <p:cNvGrpSpPr/>
                  <p:nvPr/>
                </p:nvGrpSpPr>
                <p:grpSpPr>
                  <a:xfrm>
                    <a:off x="528856" y="4083571"/>
                    <a:ext cx="3174944" cy="581616"/>
                    <a:chOff x="528856" y="2758153"/>
                    <a:chExt cx="3174944" cy="581616"/>
                  </a:xfrm>
                </p:grpSpPr>
                <p:sp>
                  <p:nvSpPr>
                    <p:cNvPr id="180" name="Freeform 106">
                      <a:extLst>
                        <a:ext uri="{FF2B5EF4-FFF2-40B4-BE49-F238E27FC236}">
                          <a16:creationId xmlns:a16="http://schemas.microsoft.com/office/drawing/2014/main" id="{2723B49D-8D4B-5359-647E-3C9E7B5ED9E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28856" y="2829460"/>
                      <a:ext cx="3174944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48198" h="136331">
                          <a:moveTo>
                            <a:pt x="0" y="0"/>
                          </a:moveTo>
                          <a:lnTo>
                            <a:pt x="848198" y="0"/>
                          </a:lnTo>
                          <a:lnTo>
                            <a:pt x="848198" y="136331"/>
                          </a:lnTo>
                          <a:lnTo>
                            <a:pt x="0" y="136331"/>
                          </a:lnTo>
                          <a:close/>
                        </a:path>
                      </a:pathLst>
                    </a:custGeom>
                    <a:gradFill rotWithShape="1">
                      <a:gsLst>
                        <a:gs pos="0">
                          <a:srgbClr val="3B5E8F">
                            <a:alpha val="50000"/>
                          </a:srgbClr>
                        </a:gs>
                        <a:gs pos="100000">
                          <a:srgbClr val="FFFFFF">
                            <a:alpha val="50000"/>
                          </a:srgbClr>
                        </a:gs>
                      </a:gsLst>
                      <a:lin ang="0"/>
                    </a:gradFill>
                    <a:ln cap="sq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83" name="Freeform 109">
                      <a:extLst>
                        <a:ext uri="{FF2B5EF4-FFF2-40B4-BE49-F238E27FC236}">
                          <a16:creationId xmlns:a16="http://schemas.microsoft.com/office/drawing/2014/main" id="{D997078F-9C68-C359-DE32-40FE6FC9407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28856" y="2829460"/>
                      <a:ext cx="3174944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48198" h="136331">
                          <a:moveTo>
                            <a:pt x="0" y="0"/>
                          </a:moveTo>
                          <a:lnTo>
                            <a:pt x="848198" y="0"/>
                          </a:lnTo>
                          <a:lnTo>
                            <a:pt x="848198" y="136331"/>
                          </a:lnTo>
                          <a:lnTo>
                            <a:pt x="0" y="136331"/>
                          </a:lnTo>
                          <a:close/>
                        </a:path>
                      </a:pathLst>
                    </a:custGeom>
                    <a:solidFill>
                      <a:srgbClr val="3B5E8F">
                        <a:alpha val="29804"/>
                      </a:srgbClr>
                    </a:solidFill>
                    <a:ln w="9525" cap="sq">
                      <a:solidFill>
                        <a:srgbClr val="FFFFFF">
                          <a:alpha val="29804"/>
                        </a:srgbClr>
                      </a:solidFill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213" name="Freeform 112">
                      <a:extLst>
                        <a:ext uri="{FF2B5EF4-FFF2-40B4-BE49-F238E27FC236}">
                          <a16:creationId xmlns:a16="http://schemas.microsoft.com/office/drawing/2014/main" id="{0174BC0D-3968-E515-DA14-93223C3EE6D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193491" y="2829460"/>
                      <a:ext cx="510309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82883" h="182883">
                          <a:moveTo>
                            <a:pt x="0" y="0"/>
                          </a:moveTo>
                          <a:lnTo>
                            <a:pt x="182883" y="0"/>
                          </a:lnTo>
                          <a:lnTo>
                            <a:pt x="182883" y="182883"/>
                          </a:lnTo>
                          <a:lnTo>
                            <a:pt x="0" y="182883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sq">
                      <a:solidFill>
                        <a:srgbClr val="FFFFFF"/>
                      </a:solidFill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214" name="TextBox 107">
                      <a:extLst>
                        <a:ext uri="{FF2B5EF4-FFF2-40B4-BE49-F238E27FC236}">
                          <a16:creationId xmlns:a16="http://schemas.microsoft.com/office/drawing/2014/main" id="{EE46F2EA-D7E7-5A23-47B4-D5F5123B4D52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28856" y="2758153"/>
                      <a:ext cx="3174944" cy="581616"/>
                    </a:xfrm>
                    <a:prstGeom prst="rect">
                      <a:avLst/>
                    </a:prstGeom>
                  </p:spPr>
                  <p:txBody>
                    <a:bodyPr lIns="68146" tIns="68146" rIns="68146" bIns="68146" rtlCol="0" anchor="ctr"/>
                    <a:lstStyle/>
                    <a:p>
                      <a:pPr marL="0" lvl="0" indent="0" algn="ctr">
                        <a:lnSpc>
                          <a:spcPts val="1674"/>
                        </a:lnSpc>
                        <a:spcBef>
                          <a:spcPct val="0"/>
                        </a:spcBef>
                      </a:pPr>
                      <a:endParaRPr dirty="0"/>
                    </a:p>
                  </p:txBody>
                </p:sp>
                <p:sp>
                  <p:nvSpPr>
                    <p:cNvPr id="215" name="TextBox 197">
                      <a:extLst>
                        <a:ext uri="{FF2B5EF4-FFF2-40B4-BE49-F238E27FC236}">
                          <a16:creationId xmlns:a16="http://schemas.microsoft.com/office/drawing/2014/main" id="{027C0910-91A6-069F-79D2-0D8561BC4F34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756000" y="3018846"/>
                      <a:ext cx="2107850" cy="141064"/>
                    </a:xfrm>
                    <a:prstGeom prst="rect">
                      <a:avLst/>
                    </a:prstGeom>
                  </p:spPr>
                  <p:txBody>
                    <a:bodyPr wrap="square" lIns="0" tIns="0" rIns="0" bIns="0" rtlCol="0" anchor="t">
                      <a:spAutoFit/>
                    </a:bodyPr>
                    <a:lstStyle/>
                    <a:p>
                      <a:pPr>
                        <a:lnSpc>
                          <a:spcPts val="1099"/>
                        </a:lnSpc>
                      </a:pPr>
                      <a:r>
                        <a:rPr lang="en-US" sz="999" b="1" spc="-49" dirty="0">
                          <a:solidFill>
                            <a:srgbClr val="FFFFFF"/>
                          </a:solidFill>
                          <a:latin typeface="Be Vietnam Pro" pitchFamily="2" charset="0"/>
                        </a:rPr>
                        <a:t>Jaguar F-Type</a:t>
                      </a:r>
                    </a:p>
                  </p:txBody>
                </p:sp>
              </p:grpSp>
              <p:grpSp>
                <p:nvGrpSpPr>
                  <p:cNvPr id="216" name="Group 215">
                    <a:extLst>
                      <a:ext uri="{FF2B5EF4-FFF2-40B4-BE49-F238E27FC236}">
                        <a16:creationId xmlns:a16="http://schemas.microsoft.com/office/drawing/2014/main" id="{BDA5E786-D0AE-86E0-E022-B175AE134C21}"/>
                      </a:ext>
                    </a:extLst>
                  </p:cNvPr>
                  <p:cNvGrpSpPr/>
                  <p:nvPr/>
                </p:nvGrpSpPr>
                <p:grpSpPr>
                  <a:xfrm>
                    <a:off x="528856" y="4746281"/>
                    <a:ext cx="3174944" cy="581616"/>
                    <a:chOff x="528856" y="2758153"/>
                    <a:chExt cx="3174944" cy="581616"/>
                  </a:xfrm>
                </p:grpSpPr>
                <p:sp>
                  <p:nvSpPr>
                    <p:cNvPr id="217" name="Freeform 106">
                      <a:extLst>
                        <a:ext uri="{FF2B5EF4-FFF2-40B4-BE49-F238E27FC236}">
                          <a16:creationId xmlns:a16="http://schemas.microsoft.com/office/drawing/2014/main" id="{EC4D5D38-4C01-B564-E635-19E28BA5532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28856" y="2829460"/>
                      <a:ext cx="3174944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48198" h="136331">
                          <a:moveTo>
                            <a:pt x="0" y="0"/>
                          </a:moveTo>
                          <a:lnTo>
                            <a:pt x="848198" y="0"/>
                          </a:lnTo>
                          <a:lnTo>
                            <a:pt x="848198" y="136331"/>
                          </a:lnTo>
                          <a:lnTo>
                            <a:pt x="0" y="136331"/>
                          </a:lnTo>
                          <a:close/>
                        </a:path>
                      </a:pathLst>
                    </a:custGeom>
                    <a:gradFill rotWithShape="1">
                      <a:gsLst>
                        <a:gs pos="0">
                          <a:srgbClr val="3B5E8F">
                            <a:alpha val="50000"/>
                          </a:srgbClr>
                        </a:gs>
                        <a:gs pos="100000">
                          <a:srgbClr val="FFFFFF">
                            <a:alpha val="50000"/>
                          </a:srgbClr>
                        </a:gs>
                      </a:gsLst>
                      <a:lin ang="0"/>
                    </a:gradFill>
                    <a:ln cap="sq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218" name="Freeform 109">
                      <a:extLst>
                        <a:ext uri="{FF2B5EF4-FFF2-40B4-BE49-F238E27FC236}">
                          <a16:creationId xmlns:a16="http://schemas.microsoft.com/office/drawing/2014/main" id="{046E4278-D358-0755-BE5A-7A030D4307D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28856" y="2829460"/>
                      <a:ext cx="3174944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48198" h="136331">
                          <a:moveTo>
                            <a:pt x="0" y="0"/>
                          </a:moveTo>
                          <a:lnTo>
                            <a:pt x="848198" y="0"/>
                          </a:lnTo>
                          <a:lnTo>
                            <a:pt x="848198" y="136331"/>
                          </a:lnTo>
                          <a:lnTo>
                            <a:pt x="0" y="136331"/>
                          </a:lnTo>
                          <a:close/>
                        </a:path>
                      </a:pathLst>
                    </a:custGeom>
                    <a:solidFill>
                      <a:srgbClr val="3B5E8F">
                        <a:alpha val="29804"/>
                      </a:srgbClr>
                    </a:solidFill>
                    <a:ln w="9525" cap="sq">
                      <a:solidFill>
                        <a:srgbClr val="FFFFFF">
                          <a:alpha val="29804"/>
                        </a:srgbClr>
                      </a:solidFill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219" name="Freeform 112">
                      <a:extLst>
                        <a:ext uri="{FF2B5EF4-FFF2-40B4-BE49-F238E27FC236}">
                          <a16:creationId xmlns:a16="http://schemas.microsoft.com/office/drawing/2014/main" id="{FA8454C0-DC09-284B-A27D-B481C00D126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193491" y="2829460"/>
                      <a:ext cx="510309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82883" h="182883">
                          <a:moveTo>
                            <a:pt x="0" y="0"/>
                          </a:moveTo>
                          <a:lnTo>
                            <a:pt x="182883" y="0"/>
                          </a:lnTo>
                          <a:lnTo>
                            <a:pt x="182883" y="182883"/>
                          </a:lnTo>
                          <a:lnTo>
                            <a:pt x="0" y="182883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sq">
                      <a:solidFill>
                        <a:srgbClr val="FFFFFF"/>
                      </a:solidFill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220" name="TextBox 107">
                      <a:extLst>
                        <a:ext uri="{FF2B5EF4-FFF2-40B4-BE49-F238E27FC236}">
                          <a16:creationId xmlns:a16="http://schemas.microsoft.com/office/drawing/2014/main" id="{F57806D1-41E7-4093-B0F6-1AF7D371B71A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28856" y="2758153"/>
                      <a:ext cx="3174944" cy="581616"/>
                    </a:xfrm>
                    <a:prstGeom prst="rect">
                      <a:avLst/>
                    </a:prstGeom>
                  </p:spPr>
                  <p:txBody>
                    <a:bodyPr lIns="68146" tIns="68146" rIns="68146" bIns="68146" rtlCol="0" anchor="ctr"/>
                    <a:lstStyle/>
                    <a:p>
                      <a:pPr marL="0" lvl="0" indent="0" algn="ctr">
                        <a:lnSpc>
                          <a:spcPts val="1674"/>
                        </a:lnSpc>
                        <a:spcBef>
                          <a:spcPct val="0"/>
                        </a:spcBef>
                      </a:pPr>
                      <a:endParaRPr dirty="0"/>
                    </a:p>
                  </p:txBody>
                </p:sp>
                <p:sp>
                  <p:nvSpPr>
                    <p:cNvPr id="221" name="TextBox 197">
                      <a:extLst>
                        <a:ext uri="{FF2B5EF4-FFF2-40B4-BE49-F238E27FC236}">
                          <a16:creationId xmlns:a16="http://schemas.microsoft.com/office/drawing/2014/main" id="{29412187-0F2E-49EA-1989-B3475BD7DDDA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756000" y="3018846"/>
                      <a:ext cx="2107850" cy="141064"/>
                    </a:xfrm>
                    <a:prstGeom prst="rect">
                      <a:avLst/>
                    </a:prstGeom>
                  </p:spPr>
                  <p:txBody>
                    <a:bodyPr wrap="square" lIns="0" tIns="0" rIns="0" bIns="0" rtlCol="0" anchor="t">
                      <a:spAutoFit/>
                    </a:bodyPr>
                    <a:lstStyle/>
                    <a:p>
                      <a:pPr>
                        <a:lnSpc>
                          <a:spcPts val="1099"/>
                        </a:lnSpc>
                      </a:pPr>
                      <a:r>
                        <a:rPr lang="en-US" sz="999" b="1" spc="-49" dirty="0">
                          <a:solidFill>
                            <a:srgbClr val="FFFFFF"/>
                          </a:solidFill>
                          <a:latin typeface="Be Vietnam Pro" pitchFamily="2" charset="0"/>
                        </a:rPr>
                        <a:t>Lamborghini Huracan EVO</a:t>
                      </a:r>
                    </a:p>
                  </p:txBody>
                </p:sp>
              </p:grpSp>
              <p:grpSp>
                <p:nvGrpSpPr>
                  <p:cNvPr id="222" name="Group 221">
                    <a:extLst>
                      <a:ext uri="{FF2B5EF4-FFF2-40B4-BE49-F238E27FC236}">
                        <a16:creationId xmlns:a16="http://schemas.microsoft.com/office/drawing/2014/main" id="{5E696078-CF8E-CC3F-F190-0E63910EE921}"/>
                      </a:ext>
                    </a:extLst>
                  </p:cNvPr>
                  <p:cNvGrpSpPr/>
                  <p:nvPr/>
                </p:nvGrpSpPr>
                <p:grpSpPr>
                  <a:xfrm>
                    <a:off x="528856" y="5408991"/>
                    <a:ext cx="3174944" cy="581616"/>
                    <a:chOff x="528856" y="2758153"/>
                    <a:chExt cx="3174944" cy="581616"/>
                  </a:xfrm>
                </p:grpSpPr>
                <p:sp>
                  <p:nvSpPr>
                    <p:cNvPr id="223" name="Freeform 106">
                      <a:extLst>
                        <a:ext uri="{FF2B5EF4-FFF2-40B4-BE49-F238E27FC236}">
                          <a16:creationId xmlns:a16="http://schemas.microsoft.com/office/drawing/2014/main" id="{B91C2C9A-AD82-F6D7-D8DB-E994801CA93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28856" y="2829460"/>
                      <a:ext cx="3174944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48198" h="136331">
                          <a:moveTo>
                            <a:pt x="0" y="0"/>
                          </a:moveTo>
                          <a:lnTo>
                            <a:pt x="848198" y="0"/>
                          </a:lnTo>
                          <a:lnTo>
                            <a:pt x="848198" y="136331"/>
                          </a:lnTo>
                          <a:lnTo>
                            <a:pt x="0" y="136331"/>
                          </a:lnTo>
                          <a:close/>
                        </a:path>
                      </a:pathLst>
                    </a:custGeom>
                    <a:gradFill rotWithShape="1">
                      <a:gsLst>
                        <a:gs pos="0">
                          <a:srgbClr val="3B5E8F">
                            <a:alpha val="50000"/>
                          </a:srgbClr>
                        </a:gs>
                        <a:gs pos="100000">
                          <a:srgbClr val="FFFFFF">
                            <a:alpha val="50000"/>
                          </a:srgbClr>
                        </a:gs>
                      </a:gsLst>
                      <a:lin ang="0"/>
                    </a:gradFill>
                    <a:ln cap="sq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224" name="Freeform 109">
                      <a:extLst>
                        <a:ext uri="{FF2B5EF4-FFF2-40B4-BE49-F238E27FC236}">
                          <a16:creationId xmlns:a16="http://schemas.microsoft.com/office/drawing/2014/main" id="{562FF5B5-5BD5-93C3-CDEF-094FF913D53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28856" y="2829460"/>
                      <a:ext cx="3174944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48198" h="136331">
                          <a:moveTo>
                            <a:pt x="0" y="0"/>
                          </a:moveTo>
                          <a:lnTo>
                            <a:pt x="848198" y="0"/>
                          </a:lnTo>
                          <a:lnTo>
                            <a:pt x="848198" y="136331"/>
                          </a:lnTo>
                          <a:lnTo>
                            <a:pt x="0" y="136331"/>
                          </a:lnTo>
                          <a:close/>
                        </a:path>
                      </a:pathLst>
                    </a:custGeom>
                    <a:solidFill>
                      <a:srgbClr val="3B5E8F">
                        <a:alpha val="29804"/>
                      </a:srgbClr>
                    </a:solidFill>
                    <a:ln w="9525" cap="sq">
                      <a:solidFill>
                        <a:srgbClr val="FFFFFF">
                          <a:alpha val="29804"/>
                        </a:srgbClr>
                      </a:solidFill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225" name="Freeform 112">
                      <a:extLst>
                        <a:ext uri="{FF2B5EF4-FFF2-40B4-BE49-F238E27FC236}">
                          <a16:creationId xmlns:a16="http://schemas.microsoft.com/office/drawing/2014/main" id="{A58DE0B7-2C32-912E-4EE3-B30580F6428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193491" y="2829460"/>
                      <a:ext cx="510309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82883" h="182883">
                          <a:moveTo>
                            <a:pt x="0" y="0"/>
                          </a:moveTo>
                          <a:lnTo>
                            <a:pt x="182883" y="0"/>
                          </a:lnTo>
                          <a:lnTo>
                            <a:pt x="182883" y="182883"/>
                          </a:lnTo>
                          <a:lnTo>
                            <a:pt x="0" y="182883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sq">
                      <a:solidFill>
                        <a:srgbClr val="FFFFFF"/>
                      </a:solidFill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226" name="TextBox 107">
                      <a:extLst>
                        <a:ext uri="{FF2B5EF4-FFF2-40B4-BE49-F238E27FC236}">
                          <a16:creationId xmlns:a16="http://schemas.microsoft.com/office/drawing/2014/main" id="{AC0198D5-5E14-B093-ADD2-EDD50F347933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28856" y="2758153"/>
                      <a:ext cx="3174944" cy="581616"/>
                    </a:xfrm>
                    <a:prstGeom prst="rect">
                      <a:avLst/>
                    </a:prstGeom>
                  </p:spPr>
                  <p:txBody>
                    <a:bodyPr lIns="68146" tIns="68146" rIns="68146" bIns="68146" rtlCol="0" anchor="ctr"/>
                    <a:lstStyle/>
                    <a:p>
                      <a:pPr marL="0" lvl="0" indent="0" algn="ctr">
                        <a:lnSpc>
                          <a:spcPts val="1674"/>
                        </a:lnSpc>
                        <a:spcBef>
                          <a:spcPct val="0"/>
                        </a:spcBef>
                      </a:pPr>
                      <a:endParaRPr dirty="0"/>
                    </a:p>
                  </p:txBody>
                </p:sp>
                <p:sp>
                  <p:nvSpPr>
                    <p:cNvPr id="227" name="TextBox 197">
                      <a:extLst>
                        <a:ext uri="{FF2B5EF4-FFF2-40B4-BE49-F238E27FC236}">
                          <a16:creationId xmlns:a16="http://schemas.microsoft.com/office/drawing/2014/main" id="{F4388EDF-644D-FBC0-A3DC-5FDBE3920893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756000" y="3018846"/>
                      <a:ext cx="2107850" cy="141064"/>
                    </a:xfrm>
                    <a:prstGeom prst="rect">
                      <a:avLst/>
                    </a:prstGeom>
                  </p:spPr>
                  <p:txBody>
                    <a:bodyPr wrap="square" lIns="0" tIns="0" rIns="0" bIns="0" rtlCol="0" anchor="t">
                      <a:spAutoFit/>
                    </a:bodyPr>
                    <a:lstStyle/>
                    <a:p>
                      <a:pPr>
                        <a:lnSpc>
                          <a:spcPts val="1099"/>
                        </a:lnSpc>
                      </a:pPr>
                      <a:r>
                        <a:rPr lang="en-US" sz="999" b="1" spc="-49" dirty="0">
                          <a:solidFill>
                            <a:srgbClr val="FFFFFF"/>
                          </a:solidFill>
                          <a:latin typeface="Be Vietnam Pro" pitchFamily="2" charset="0"/>
                        </a:rPr>
                        <a:t>McLaren GT</a:t>
                      </a:r>
                    </a:p>
                  </p:txBody>
                </p:sp>
              </p:grpSp>
            </p:grpSp>
            <p:grpSp>
              <p:nvGrpSpPr>
                <p:cNvPr id="229" name="Group 228">
                  <a:extLst>
                    <a:ext uri="{FF2B5EF4-FFF2-40B4-BE49-F238E27FC236}">
                      <a16:creationId xmlns:a16="http://schemas.microsoft.com/office/drawing/2014/main" id="{A83CE2EF-BB25-A9C2-E0E2-9B90E4C7FCAE}"/>
                    </a:ext>
                  </a:extLst>
                </p:cNvPr>
                <p:cNvGrpSpPr/>
                <p:nvPr/>
              </p:nvGrpSpPr>
              <p:grpSpPr>
                <a:xfrm>
                  <a:off x="3863933" y="2758153"/>
                  <a:ext cx="3174944" cy="3232454"/>
                  <a:chOff x="528856" y="2758153"/>
                  <a:chExt cx="3174944" cy="3232454"/>
                </a:xfrm>
              </p:grpSpPr>
              <p:grpSp>
                <p:nvGrpSpPr>
                  <p:cNvPr id="230" name="Group 229">
                    <a:extLst>
                      <a:ext uri="{FF2B5EF4-FFF2-40B4-BE49-F238E27FC236}">
                        <a16:creationId xmlns:a16="http://schemas.microsoft.com/office/drawing/2014/main" id="{06162B55-6E9E-1FA5-8590-4157B458B52D}"/>
                      </a:ext>
                    </a:extLst>
                  </p:cNvPr>
                  <p:cNvGrpSpPr/>
                  <p:nvPr/>
                </p:nvGrpSpPr>
                <p:grpSpPr>
                  <a:xfrm>
                    <a:off x="528856" y="2758153"/>
                    <a:ext cx="3174944" cy="581616"/>
                    <a:chOff x="528856" y="2758153"/>
                    <a:chExt cx="3174944" cy="581616"/>
                  </a:xfrm>
                </p:grpSpPr>
                <p:sp>
                  <p:nvSpPr>
                    <p:cNvPr id="255" name="Freeform 106">
                      <a:extLst>
                        <a:ext uri="{FF2B5EF4-FFF2-40B4-BE49-F238E27FC236}">
                          <a16:creationId xmlns:a16="http://schemas.microsoft.com/office/drawing/2014/main" id="{07531788-AB9D-3D98-5488-CCAD4D22FF7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28856" y="2829460"/>
                      <a:ext cx="3174944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48198" h="136331">
                          <a:moveTo>
                            <a:pt x="0" y="0"/>
                          </a:moveTo>
                          <a:lnTo>
                            <a:pt x="848198" y="0"/>
                          </a:lnTo>
                          <a:lnTo>
                            <a:pt x="848198" y="136331"/>
                          </a:lnTo>
                          <a:lnTo>
                            <a:pt x="0" y="136331"/>
                          </a:lnTo>
                          <a:close/>
                        </a:path>
                      </a:pathLst>
                    </a:custGeom>
                    <a:gradFill rotWithShape="1">
                      <a:gsLst>
                        <a:gs pos="0">
                          <a:srgbClr val="3B5E8F">
                            <a:alpha val="50000"/>
                          </a:srgbClr>
                        </a:gs>
                        <a:gs pos="100000">
                          <a:srgbClr val="FFFFFF">
                            <a:alpha val="50000"/>
                          </a:srgbClr>
                        </a:gs>
                      </a:gsLst>
                      <a:lin ang="0"/>
                    </a:gradFill>
                    <a:ln cap="sq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256" name="Freeform 109">
                      <a:extLst>
                        <a:ext uri="{FF2B5EF4-FFF2-40B4-BE49-F238E27FC236}">
                          <a16:creationId xmlns:a16="http://schemas.microsoft.com/office/drawing/2014/main" id="{4DC26F38-876C-84DC-D92B-910EF50EEB5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28856" y="2829460"/>
                      <a:ext cx="3174944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48198" h="136331">
                          <a:moveTo>
                            <a:pt x="0" y="0"/>
                          </a:moveTo>
                          <a:lnTo>
                            <a:pt x="848198" y="0"/>
                          </a:lnTo>
                          <a:lnTo>
                            <a:pt x="848198" y="136331"/>
                          </a:lnTo>
                          <a:lnTo>
                            <a:pt x="0" y="136331"/>
                          </a:lnTo>
                          <a:close/>
                        </a:path>
                      </a:pathLst>
                    </a:custGeom>
                    <a:solidFill>
                      <a:srgbClr val="3B5E8F">
                        <a:alpha val="29804"/>
                      </a:srgbClr>
                    </a:solidFill>
                    <a:ln w="9525" cap="sq">
                      <a:solidFill>
                        <a:srgbClr val="FFFFFF">
                          <a:alpha val="29804"/>
                        </a:srgbClr>
                      </a:solidFill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257" name="Freeform 112">
                      <a:extLst>
                        <a:ext uri="{FF2B5EF4-FFF2-40B4-BE49-F238E27FC236}">
                          <a16:creationId xmlns:a16="http://schemas.microsoft.com/office/drawing/2014/main" id="{2594CBBB-CE95-70CB-E846-F92ACAABF00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193491" y="2829460"/>
                      <a:ext cx="510309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82883" h="182883">
                          <a:moveTo>
                            <a:pt x="0" y="0"/>
                          </a:moveTo>
                          <a:lnTo>
                            <a:pt x="182883" y="0"/>
                          </a:lnTo>
                          <a:lnTo>
                            <a:pt x="182883" y="182883"/>
                          </a:lnTo>
                          <a:lnTo>
                            <a:pt x="0" y="182883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sq">
                      <a:solidFill>
                        <a:srgbClr val="FFFFFF"/>
                      </a:solidFill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258" name="TextBox 107">
                      <a:extLst>
                        <a:ext uri="{FF2B5EF4-FFF2-40B4-BE49-F238E27FC236}">
                          <a16:creationId xmlns:a16="http://schemas.microsoft.com/office/drawing/2014/main" id="{D63559CA-0CF8-F251-1857-F52A7720F51A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28856" y="2758153"/>
                      <a:ext cx="3174944" cy="581616"/>
                    </a:xfrm>
                    <a:prstGeom prst="rect">
                      <a:avLst/>
                    </a:prstGeom>
                  </p:spPr>
                  <p:txBody>
                    <a:bodyPr lIns="68146" tIns="68146" rIns="68146" bIns="68146" rtlCol="0" anchor="ctr"/>
                    <a:lstStyle/>
                    <a:p>
                      <a:pPr marL="0" lvl="0" indent="0" algn="ctr">
                        <a:lnSpc>
                          <a:spcPts val="1674"/>
                        </a:lnSpc>
                        <a:spcBef>
                          <a:spcPct val="0"/>
                        </a:spcBef>
                      </a:pPr>
                      <a:endParaRPr dirty="0"/>
                    </a:p>
                  </p:txBody>
                </p:sp>
                <p:sp>
                  <p:nvSpPr>
                    <p:cNvPr id="259" name="TextBox 197">
                      <a:extLst>
                        <a:ext uri="{FF2B5EF4-FFF2-40B4-BE49-F238E27FC236}">
                          <a16:creationId xmlns:a16="http://schemas.microsoft.com/office/drawing/2014/main" id="{68C97BED-2CD3-5BDD-E8BC-06876731CECB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756000" y="3018846"/>
                      <a:ext cx="2107850" cy="141064"/>
                    </a:xfrm>
                    <a:prstGeom prst="rect">
                      <a:avLst/>
                    </a:prstGeom>
                  </p:spPr>
                  <p:txBody>
                    <a:bodyPr wrap="square" lIns="0" tIns="0" rIns="0" bIns="0" rtlCol="0" anchor="t">
                      <a:spAutoFit/>
                    </a:bodyPr>
                    <a:lstStyle/>
                    <a:p>
                      <a:pPr>
                        <a:lnSpc>
                          <a:spcPts val="1099"/>
                        </a:lnSpc>
                      </a:pPr>
                      <a:r>
                        <a:rPr lang="en-US" sz="999" b="1" spc="-49" dirty="0">
                          <a:solidFill>
                            <a:srgbClr val="FFFFFF"/>
                          </a:solidFill>
                          <a:latin typeface="Be Vietnam Pro" pitchFamily="2" charset="0"/>
                        </a:rPr>
                        <a:t>Mercedes-Benz AMG GT</a:t>
                      </a:r>
                    </a:p>
                  </p:txBody>
                </p:sp>
              </p:grpSp>
              <p:grpSp>
                <p:nvGrpSpPr>
                  <p:cNvPr id="231" name="Group 230">
                    <a:extLst>
                      <a:ext uri="{FF2B5EF4-FFF2-40B4-BE49-F238E27FC236}">
                        <a16:creationId xmlns:a16="http://schemas.microsoft.com/office/drawing/2014/main" id="{AB17DEEE-548B-A5B7-1780-0D16DC79C7B6}"/>
                      </a:ext>
                    </a:extLst>
                  </p:cNvPr>
                  <p:cNvGrpSpPr/>
                  <p:nvPr/>
                </p:nvGrpSpPr>
                <p:grpSpPr>
                  <a:xfrm>
                    <a:off x="528856" y="3420862"/>
                    <a:ext cx="3174944" cy="581616"/>
                    <a:chOff x="528856" y="2758153"/>
                    <a:chExt cx="3174944" cy="581616"/>
                  </a:xfrm>
                </p:grpSpPr>
                <p:sp>
                  <p:nvSpPr>
                    <p:cNvPr id="250" name="Freeform 106">
                      <a:extLst>
                        <a:ext uri="{FF2B5EF4-FFF2-40B4-BE49-F238E27FC236}">
                          <a16:creationId xmlns:a16="http://schemas.microsoft.com/office/drawing/2014/main" id="{6AA79E15-6359-C9A0-A4A5-DE98FAE37FC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28856" y="2829460"/>
                      <a:ext cx="3174944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48198" h="136331">
                          <a:moveTo>
                            <a:pt x="0" y="0"/>
                          </a:moveTo>
                          <a:lnTo>
                            <a:pt x="848198" y="0"/>
                          </a:lnTo>
                          <a:lnTo>
                            <a:pt x="848198" y="136331"/>
                          </a:lnTo>
                          <a:lnTo>
                            <a:pt x="0" y="136331"/>
                          </a:lnTo>
                          <a:close/>
                        </a:path>
                      </a:pathLst>
                    </a:custGeom>
                    <a:gradFill rotWithShape="1">
                      <a:gsLst>
                        <a:gs pos="0">
                          <a:srgbClr val="3B5E8F">
                            <a:alpha val="50000"/>
                          </a:srgbClr>
                        </a:gs>
                        <a:gs pos="100000">
                          <a:srgbClr val="FFFFFF">
                            <a:alpha val="50000"/>
                          </a:srgbClr>
                        </a:gs>
                      </a:gsLst>
                      <a:lin ang="0"/>
                    </a:gradFill>
                    <a:ln cap="sq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251" name="Freeform 109">
                      <a:extLst>
                        <a:ext uri="{FF2B5EF4-FFF2-40B4-BE49-F238E27FC236}">
                          <a16:creationId xmlns:a16="http://schemas.microsoft.com/office/drawing/2014/main" id="{E009AB1F-3492-7D9C-21BA-058B734234B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28856" y="2829460"/>
                      <a:ext cx="3174944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48198" h="136331">
                          <a:moveTo>
                            <a:pt x="0" y="0"/>
                          </a:moveTo>
                          <a:lnTo>
                            <a:pt x="848198" y="0"/>
                          </a:lnTo>
                          <a:lnTo>
                            <a:pt x="848198" y="136331"/>
                          </a:lnTo>
                          <a:lnTo>
                            <a:pt x="0" y="136331"/>
                          </a:lnTo>
                          <a:close/>
                        </a:path>
                      </a:pathLst>
                    </a:custGeom>
                    <a:solidFill>
                      <a:srgbClr val="3B5E8F">
                        <a:alpha val="29804"/>
                      </a:srgbClr>
                    </a:solidFill>
                    <a:ln w="9525" cap="sq">
                      <a:solidFill>
                        <a:srgbClr val="FFFFFF">
                          <a:alpha val="29804"/>
                        </a:srgbClr>
                      </a:solidFill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252" name="Freeform 112">
                      <a:extLst>
                        <a:ext uri="{FF2B5EF4-FFF2-40B4-BE49-F238E27FC236}">
                          <a16:creationId xmlns:a16="http://schemas.microsoft.com/office/drawing/2014/main" id="{8DD04277-72F2-DA6D-2A81-221CF41F3E4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193491" y="2829460"/>
                      <a:ext cx="510309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82883" h="182883">
                          <a:moveTo>
                            <a:pt x="0" y="0"/>
                          </a:moveTo>
                          <a:lnTo>
                            <a:pt x="182883" y="0"/>
                          </a:lnTo>
                          <a:lnTo>
                            <a:pt x="182883" y="182883"/>
                          </a:lnTo>
                          <a:lnTo>
                            <a:pt x="0" y="182883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sq">
                      <a:solidFill>
                        <a:srgbClr val="FFFFFF"/>
                      </a:solidFill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253" name="TextBox 107">
                      <a:extLst>
                        <a:ext uri="{FF2B5EF4-FFF2-40B4-BE49-F238E27FC236}">
                          <a16:creationId xmlns:a16="http://schemas.microsoft.com/office/drawing/2014/main" id="{17D793E1-FA4A-A128-CC60-0491DEF1C86F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28856" y="2758153"/>
                      <a:ext cx="3174944" cy="581616"/>
                    </a:xfrm>
                    <a:prstGeom prst="rect">
                      <a:avLst/>
                    </a:prstGeom>
                  </p:spPr>
                  <p:txBody>
                    <a:bodyPr lIns="68146" tIns="68146" rIns="68146" bIns="68146" rtlCol="0" anchor="ctr"/>
                    <a:lstStyle/>
                    <a:p>
                      <a:pPr marL="0" lvl="0" indent="0" algn="ctr">
                        <a:lnSpc>
                          <a:spcPts val="1674"/>
                        </a:lnSpc>
                        <a:spcBef>
                          <a:spcPct val="0"/>
                        </a:spcBef>
                      </a:pPr>
                      <a:endParaRPr dirty="0"/>
                    </a:p>
                  </p:txBody>
                </p:sp>
                <p:sp>
                  <p:nvSpPr>
                    <p:cNvPr id="254" name="TextBox 197">
                      <a:extLst>
                        <a:ext uri="{FF2B5EF4-FFF2-40B4-BE49-F238E27FC236}">
                          <a16:creationId xmlns:a16="http://schemas.microsoft.com/office/drawing/2014/main" id="{0B030786-D495-94BA-12DC-76C9B117E754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756000" y="3018846"/>
                      <a:ext cx="2107850" cy="141064"/>
                    </a:xfrm>
                    <a:prstGeom prst="rect">
                      <a:avLst/>
                    </a:prstGeom>
                  </p:spPr>
                  <p:txBody>
                    <a:bodyPr wrap="square" lIns="0" tIns="0" rIns="0" bIns="0" rtlCol="0" anchor="t">
                      <a:spAutoFit/>
                    </a:bodyPr>
                    <a:lstStyle/>
                    <a:p>
                      <a:pPr>
                        <a:lnSpc>
                          <a:spcPts val="1099"/>
                        </a:lnSpc>
                      </a:pPr>
                      <a:r>
                        <a:rPr lang="en-US" sz="999" b="1" spc="-49" dirty="0">
                          <a:solidFill>
                            <a:srgbClr val="FFFFFF"/>
                          </a:solidFill>
                          <a:latin typeface="Be Vietnam Pro" pitchFamily="2" charset="0"/>
                        </a:rPr>
                        <a:t>Porsche 911 Carrera</a:t>
                      </a:r>
                    </a:p>
                  </p:txBody>
                </p:sp>
              </p:grpSp>
              <p:grpSp>
                <p:nvGrpSpPr>
                  <p:cNvPr id="232" name="Group 231">
                    <a:extLst>
                      <a:ext uri="{FF2B5EF4-FFF2-40B4-BE49-F238E27FC236}">
                        <a16:creationId xmlns:a16="http://schemas.microsoft.com/office/drawing/2014/main" id="{59D70C5A-894C-4D17-4451-F2B761253230}"/>
                      </a:ext>
                    </a:extLst>
                  </p:cNvPr>
                  <p:cNvGrpSpPr/>
                  <p:nvPr/>
                </p:nvGrpSpPr>
                <p:grpSpPr>
                  <a:xfrm>
                    <a:off x="528856" y="4083571"/>
                    <a:ext cx="3174944" cy="581616"/>
                    <a:chOff x="528856" y="2758153"/>
                    <a:chExt cx="3174944" cy="581616"/>
                  </a:xfrm>
                </p:grpSpPr>
                <p:sp>
                  <p:nvSpPr>
                    <p:cNvPr id="245" name="Freeform 106">
                      <a:extLst>
                        <a:ext uri="{FF2B5EF4-FFF2-40B4-BE49-F238E27FC236}">
                          <a16:creationId xmlns:a16="http://schemas.microsoft.com/office/drawing/2014/main" id="{3A534E4E-81CD-FAE1-29C9-1877E21D627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28856" y="2829460"/>
                      <a:ext cx="3174944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48198" h="136331">
                          <a:moveTo>
                            <a:pt x="0" y="0"/>
                          </a:moveTo>
                          <a:lnTo>
                            <a:pt x="848198" y="0"/>
                          </a:lnTo>
                          <a:lnTo>
                            <a:pt x="848198" y="136331"/>
                          </a:lnTo>
                          <a:lnTo>
                            <a:pt x="0" y="136331"/>
                          </a:lnTo>
                          <a:close/>
                        </a:path>
                      </a:pathLst>
                    </a:custGeom>
                    <a:gradFill rotWithShape="1">
                      <a:gsLst>
                        <a:gs pos="0">
                          <a:srgbClr val="3B5E8F">
                            <a:alpha val="50000"/>
                          </a:srgbClr>
                        </a:gs>
                        <a:gs pos="100000">
                          <a:srgbClr val="FFFFFF">
                            <a:alpha val="50000"/>
                          </a:srgbClr>
                        </a:gs>
                      </a:gsLst>
                      <a:lin ang="0"/>
                    </a:gradFill>
                    <a:ln cap="sq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246" name="Freeform 109">
                      <a:extLst>
                        <a:ext uri="{FF2B5EF4-FFF2-40B4-BE49-F238E27FC236}">
                          <a16:creationId xmlns:a16="http://schemas.microsoft.com/office/drawing/2014/main" id="{ED7A5832-6F6D-7BC6-0EFA-8EF6938898D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28856" y="2829460"/>
                      <a:ext cx="3174944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48198" h="136331">
                          <a:moveTo>
                            <a:pt x="0" y="0"/>
                          </a:moveTo>
                          <a:lnTo>
                            <a:pt x="848198" y="0"/>
                          </a:lnTo>
                          <a:lnTo>
                            <a:pt x="848198" y="136331"/>
                          </a:lnTo>
                          <a:lnTo>
                            <a:pt x="0" y="136331"/>
                          </a:lnTo>
                          <a:close/>
                        </a:path>
                      </a:pathLst>
                    </a:custGeom>
                    <a:solidFill>
                      <a:srgbClr val="3B5E8F">
                        <a:alpha val="29804"/>
                      </a:srgbClr>
                    </a:solidFill>
                    <a:ln w="9525" cap="sq">
                      <a:solidFill>
                        <a:srgbClr val="FFFFFF">
                          <a:alpha val="29804"/>
                        </a:srgbClr>
                      </a:solidFill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247" name="Freeform 112">
                      <a:extLst>
                        <a:ext uri="{FF2B5EF4-FFF2-40B4-BE49-F238E27FC236}">
                          <a16:creationId xmlns:a16="http://schemas.microsoft.com/office/drawing/2014/main" id="{363B2B63-BD87-FD47-5DC3-E52555DCB68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193491" y="2829460"/>
                      <a:ext cx="510309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82883" h="182883">
                          <a:moveTo>
                            <a:pt x="0" y="0"/>
                          </a:moveTo>
                          <a:lnTo>
                            <a:pt x="182883" y="0"/>
                          </a:lnTo>
                          <a:lnTo>
                            <a:pt x="182883" y="182883"/>
                          </a:lnTo>
                          <a:lnTo>
                            <a:pt x="0" y="182883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sq">
                      <a:solidFill>
                        <a:srgbClr val="FFFFFF"/>
                      </a:solidFill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248" name="TextBox 107">
                      <a:extLst>
                        <a:ext uri="{FF2B5EF4-FFF2-40B4-BE49-F238E27FC236}">
                          <a16:creationId xmlns:a16="http://schemas.microsoft.com/office/drawing/2014/main" id="{E9C305A4-718C-30DF-9CA9-B017D08545E1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28856" y="2758153"/>
                      <a:ext cx="3174944" cy="581616"/>
                    </a:xfrm>
                    <a:prstGeom prst="rect">
                      <a:avLst/>
                    </a:prstGeom>
                  </p:spPr>
                  <p:txBody>
                    <a:bodyPr lIns="68146" tIns="68146" rIns="68146" bIns="68146" rtlCol="0" anchor="ctr"/>
                    <a:lstStyle/>
                    <a:p>
                      <a:pPr marL="0" lvl="0" indent="0" algn="ctr">
                        <a:lnSpc>
                          <a:spcPts val="1674"/>
                        </a:lnSpc>
                        <a:spcBef>
                          <a:spcPct val="0"/>
                        </a:spcBef>
                      </a:pPr>
                      <a:endParaRPr dirty="0"/>
                    </a:p>
                  </p:txBody>
                </p:sp>
                <p:sp>
                  <p:nvSpPr>
                    <p:cNvPr id="249" name="TextBox 197">
                      <a:extLst>
                        <a:ext uri="{FF2B5EF4-FFF2-40B4-BE49-F238E27FC236}">
                          <a16:creationId xmlns:a16="http://schemas.microsoft.com/office/drawing/2014/main" id="{E24FD664-10F9-6E75-1034-B641C902CA3A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756000" y="3018846"/>
                      <a:ext cx="2107850" cy="141064"/>
                    </a:xfrm>
                    <a:prstGeom prst="rect">
                      <a:avLst/>
                    </a:prstGeom>
                  </p:spPr>
                  <p:txBody>
                    <a:bodyPr wrap="square" lIns="0" tIns="0" rIns="0" bIns="0" rtlCol="0" anchor="t">
                      <a:spAutoFit/>
                    </a:bodyPr>
                    <a:lstStyle/>
                    <a:p>
                      <a:pPr>
                        <a:lnSpc>
                          <a:spcPts val="1099"/>
                        </a:lnSpc>
                      </a:pPr>
                      <a:r>
                        <a:rPr lang="en-US" sz="999" b="1" spc="-49" dirty="0">
                          <a:solidFill>
                            <a:srgbClr val="FFFFFF"/>
                          </a:solidFill>
                          <a:latin typeface="Be Vietnam Pro" pitchFamily="2" charset="0"/>
                        </a:rPr>
                        <a:t>Rolls-Royce Wraith</a:t>
                      </a:r>
                    </a:p>
                  </p:txBody>
                </p:sp>
              </p:grpSp>
              <p:grpSp>
                <p:nvGrpSpPr>
                  <p:cNvPr id="233" name="Group 232">
                    <a:extLst>
                      <a:ext uri="{FF2B5EF4-FFF2-40B4-BE49-F238E27FC236}">
                        <a16:creationId xmlns:a16="http://schemas.microsoft.com/office/drawing/2014/main" id="{FB984721-2984-13D0-E737-127AD7096F80}"/>
                      </a:ext>
                    </a:extLst>
                  </p:cNvPr>
                  <p:cNvGrpSpPr/>
                  <p:nvPr/>
                </p:nvGrpSpPr>
                <p:grpSpPr>
                  <a:xfrm>
                    <a:off x="528856" y="4746281"/>
                    <a:ext cx="3174944" cy="581616"/>
                    <a:chOff x="528856" y="2758153"/>
                    <a:chExt cx="3174944" cy="581616"/>
                  </a:xfrm>
                </p:grpSpPr>
                <p:sp>
                  <p:nvSpPr>
                    <p:cNvPr id="240" name="Freeform 106">
                      <a:extLst>
                        <a:ext uri="{FF2B5EF4-FFF2-40B4-BE49-F238E27FC236}">
                          <a16:creationId xmlns:a16="http://schemas.microsoft.com/office/drawing/2014/main" id="{7FF3130C-7E7E-FDB7-DE37-B62B7922BD4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28856" y="2829460"/>
                      <a:ext cx="3174944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48198" h="136331">
                          <a:moveTo>
                            <a:pt x="0" y="0"/>
                          </a:moveTo>
                          <a:lnTo>
                            <a:pt x="848198" y="0"/>
                          </a:lnTo>
                          <a:lnTo>
                            <a:pt x="848198" y="136331"/>
                          </a:lnTo>
                          <a:lnTo>
                            <a:pt x="0" y="136331"/>
                          </a:lnTo>
                          <a:close/>
                        </a:path>
                      </a:pathLst>
                    </a:custGeom>
                    <a:gradFill rotWithShape="1">
                      <a:gsLst>
                        <a:gs pos="0">
                          <a:srgbClr val="3B5E8F">
                            <a:alpha val="50000"/>
                          </a:srgbClr>
                        </a:gs>
                        <a:gs pos="100000">
                          <a:srgbClr val="FFFFFF">
                            <a:alpha val="50000"/>
                          </a:srgbClr>
                        </a:gs>
                      </a:gsLst>
                      <a:lin ang="0"/>
                    </a:gradFill>
                    <a:ln cap="sq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241" name="Freeform 109">
                      <a:extLst>
                        <a:ext uri="{FF2B5EF4-FFF2-40B4-BE49-F238E27FC236}">
                          <a16:creationId xmlns:a16="http://schemas.microsoft.com/office/drawing/2014/main" id="{373A6671-540E-D91E-1807-C218E1FBD80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28856" y="2829460"/>
                      <a:ext cx="3174944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48198" h="136331">
                          <a:moveTo>
                            <a:pt x="0" y="0"/>
                          </a:moveTo>
                          <a:lnTo>
                            <a:pt x="848198" y="0"/>
                          </a:lnTo>
                          <a:lnTo>
                            <a:pt x="848198" y="136331"/>
                          </a:lnTo>
                          <a:lnTo>
                            <a:pt x="0" y="136331"/>
                          </a:lnTo>
                          <a:close/>
                        </a:path>
                      </a:pathLst>
                    </a:custGeom>
                    <a:solidFill>
                      <a:srgbClr val="3B5E8F">
                        <a:alpha val="29804"/>
                      </a:srgbClr>
                    </a:solidFill>
                    <a:ln w="9525" cap="sq">
                      <a:solidFill>
                        <a:srgbClr val="FFFFFF">
                          <a:alpha val="29804"/>
                        </a:srgbClr>
                      </a:solidFill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242" name="Freeform 112">
                      <a:extLst>
                        <a:ext uri="{FF2B5EF4-FFF2-40B4-BE49-F238E27FC236}">
                          <a16:creationId xmlns:a16="http://schemas.microsoft.com/office/drawing/2014/main" id="{CB427B15-DCB8-028B-2612-209CBD02030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193491" y="2829460"/>
                      <a:ext cx="510309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82883" h="182883">
                          <a:moveTo>
                            <a:pt x="0" y="0"/>
                          </a:moveTo>
                          <a:lnTo>
                            <a:pt x="182883" y="0"/>
                          </a:lnTo>
                          <a:lnTo>
                            <a:pt x="182883" y="182883"/>
                          </a:lnTo>
                          <a:lnTo>
                            <a:pt x="0" y="182883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sq">
                      <a:solidFill>
                        <a:srgbClr val="FFFFFF"/>
                      </a:solidFill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243" name="TextBox 107">
                      <a:extLst>
                        <a:ext uri="{FF2B5EF4-FFF2-40B4-BE49-F238E27FC236}">
                          <a16:creationId xmlns:a16="http://schemas.microsoft.com/office/drawing/2014/main" id="{633CFE9B-DB42-3816-DF9E-42485340D6B2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28856" y="2758153"/>
                      <a:ext cx="3174944" cy="581616"/>
                    </a:xfrm>
                    <a:prstGeom prst="rect">
                      <a:avLst/>
                    </a:prstGeom>
                  </p:spPr>
                  <p:txBody>
                    <a:bodyPr lIns="68146" tIns="68146" rIns="68146" bIns="68146" rtlCol="0" anchor="ctr"/>
                    <a:lstStyle/>
                    <a:p>
                      <a:pPr marL="0" lvl="0" indent="0" algn="ctr">
                        <a:lnSpc>
                          <a:spcPts val="1674"/>
                        </a:lnSpc>
                        <a:spcBef>
                          <a:spcPct val="0"/>
                        </a:spcBef>
                      </a:pPr>
                      <a:endParaRPr dirty="0"/>
                    </a:p>
                  </p:txBody>
                </p:sp>
                <p:sp>
                  <p:nvSpPr>
                    <p:cNvPr id="244" name="TextBox 197">
                      <a:extLst>
                        <a:ext uri="{FF2B5EF4-FFF2-40B4-BE49-F238E27FC236}">
                          <a16:creationId xmlns:a16="http://schemas.microsoft.com/office/drawing/2014/main" id="{A8C37942-7BF9-3091-D021-C87103A66733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756000" y="3018846"/>
                      <a:ext cx="2107850" cy="141064"/>
                    </a:xfrm>
                    <a:prstGeom prst="rect">
                      <a:avLst/>
                    </a:prstGeom>
                  </p:spPr>
                  <p:txBody>
                    <a:bodyPr wrap="square" lIns="0" tIns="0" rIns="0" bIns="0" rtlCol="0" anchor="t">
                      <a:spAutoFit/>
                    </a:bodyPr>
                    <a:lstStyle/>
                    <a:p>
                      <a:pPr>
                        <a:lnSpc>
                          <a:spcPts val="1099"/>
                        </a:lnSpc>
                      </a:pPr>
                      <a:r>
                        <a:rPr lang="en-US" sz="999" b="1" spc="-49" dirty="0">
                          <a:solidFill>
                            <a:srgbClr val="FFFFFF"/>
                          </a:solidFill>
                          <a:latin typeface="Be Vietnam Pro" pitchFamily="2" charset="0"/>
                        </a:rPr>
                        <a:t>Bentley Continental GT</a:t>
                      </a:r>
                    </a:p>
                  </p:txBody>
                </p:sp>
              </p:grpSp>
              <p:grpSp>
                <p:nvGrpSpPr>
                  <p:cNvPr id="234" name="Group 233">
                    <a:extLst>
                      <a:ext uri="{FF2B5EF4-FFF2-40B4-BE49-F238E27FC236}">
                        <a16:creationId xmlns:a16="http://schemas.microsoft.com/office/drawing/2014/main" id="{C4274C36-28AC-EDD0-7012-6A956A4E796E}"/>
                      </a:ext>
                    </a:extLst>
                  </p:cNvPr>
                  <p:cNvGrpSpPr/>
                  <p:nvPr/>
                </p:nvGrpSpPr>
                <p:grpSpPr>
                  <a:xfrm>
                    <a:off x="528856" y="5408991"/>
                    <a:ext cx="3174944" cy="581616"/>
                    <a:chOff x="528856" y="2758153"/>
                    <a:chExt cx="3174944" cy="581616"/>
                  </a:xfrm>
                </p:grpSpPr>
                <p:sp>
                  <p:nvSpPr>
                    <p:cNvPr id="235" name="Freeform 106">
                      <a:extLst>
                        <a:ext uri="{FF2B5EF4-FFF2-40B4-BE49-F238E27FC236}">
                          <a16:creationId xmlns:a16="http://schemas.microsoft.com/office/drawing/2014/main" id="{5D27D481-E61F-5424-F609-D7CD8C64573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28856" y="2829460"/>
                      <a:ext cx="3174944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48198" h="136331">
                          <a:moveTo>
                            <a:pt x="0" y="0"/>
                          </a:moveTo>
                          <a:lnTo>
                            <a:pt x="848198" y="0"/>
                          </a:lnTo>
                          <a:lnTo>
                            <a:pt x="848198" y="136331"/>
                          </a:lnTo>
                          <a:lnTo>
                            <a:pt x="0" y="136331"/>
                          </a:lnTo>
                          <a:close/>
                        </a:path>
                      </a:pathLst>
                    </a:custGeom>
                    <a:gradFill rotWithShape="1">
                      <a:gsLst>
                        <a:gs pos="0">
                          <a:srgbClr val="3B5E8F">
                            <a:alpha val="50000"/>
                          </a:srgbClr>
                        </a:gs>
                        <a:gs pos="100000">
                          <a:srgbClr val="FFFFFF">
                            <a:alpha val="50000"/>
                          </a:srgbClr>
                        </a:gs>
                      </a:gsLst>
                      <a:lin ang="0"/>
                    </a:gradFill>
                    <a:ln cap="sq">
                      <a:noFill/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236" name="Freeform 109">
                      <a:extLst>
                        <a:ext uri="{FF2B5EF4-FFF2-40B4-BE49-F238E27FC236}">
                          <a16:creationId xmlns:a16="http://schemas.microsoft.com/office/drawing/2014/main" id="{F3799CA2-C85F-DD58-DC89-B5509A37FFC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28856" y="2829460"/>
                      <a:ext cx="3174944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48198" h="136331">
                          <a:moveTo>
                            <a:pt x="0" y="0"/>
                          </a:moveTo>
                          <a:lnTo>
                            <a:pt x="848198" y="0"/>
                          </a:lnTo>
                          <a:lnTo>
                            <a:pt x="848198" y="136331"/>
                          </a:lnTo>
                          <a:lnTo>
                            <a:pt x="0" y="136331"/>
                          </a:lnTo>
                          <a:close/>
                        </a:path>
                      </a:pathLst>
                    </a:custGeom>
                    <a:solidFill>
                      <a:srgbClr val="3B5E8F">
                        <a:alpha val="29804"/>
                      </a:srgbClr>
                    </a:solidFill>
                    <a:ln w="9525" cap="sq">
                      <a:solidFill>
                        <a:srgbClr val="FFFFFF">
                          <a:alpha val="29804"/>
                        </a:srgbClr>
                      </a:solidFill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237" name="Freeform 112">
                      <a:extLst>
                        <a:ext uri="{FF2B5EF4-FFF2-40B4-BE49-F238E27FC236}">
                          <a16:creationId xmlns:a16="http://schemas.microsoft.com/office/drawing/2014/main" id="{A614B966-266C-1DC5-1BAC-5385A8B29F5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193491" y="2829460"/>
                      <a:ext cx="510309" cy="51030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82883" h="182883">
                          <a:moveTo>
                            <a:pt x="0" y="0"/>
                          </a:moveTo>
                          <a:lnTo>
                            <a:pt x="182883" y="0"/>
                          </a:lnTo>
                          <a:lnTo>
                            <a:pt x="182883" y="182883"/>
                          </a:lnTo>
                          <a:lnTo>
                            <a:pt x="0" y="182883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sq">
                      <a:solidFill>
                        <a:srgbClr val="FFFFFF"/>
                      </a:solidFill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238" name="TextBox 107">
                      <a:extLst>
                        <a:ext uri="{FF2B5EF4-FFF2-40B4-BE49-F238E27FC236}">
                          <a16:creationId xmlns:a16="http://schemas.microsoft.com/office/drawing/2014/main" id="{B6600434-6FA2-4ADA-5DEC-3BC479ABEB62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28856" y="2758153"/>
                      <a:ext cx="3174944" cy="581616"/>
                    </a:xfrm>
                    <a:prstGeom prst="rect">
                      <a:avLst/>
                    </a:prstGeom>
                  </p:spPr>
                  <p:txBody>
                    <a:bodyPr lIns="68146" tIns="68146" rIns="68146" bIns="68146" rtlCol="0" anchor="ctr"/>
                    <a:lstStyle/>
                    <a:p>
                      <a:pPr marL="0" lvl="0" indent="0" algn="ctr">
                        <a:lnSpc>
                          <a:spcPts val="1674"/>
                        </a:lnSpc>
                        <a:spcBef>
                          <a:spcPct val="0"/>
                        </a:spcBef>
                      </a:pPr>
                      <a:endParaRPr dirty="0"/>
                    </a:p>
                  </p:txBody>
                </p:sp>
                <p:sp>
                  <p:nvSpPr>
                    <p:cNvPr id="239" name="TextBox 197">
                      <a:extLst>
                        <a:ext uri="{FF2B5EF4-FFF2-40B4-BE49-F238E27FC236}">
                          <a16:creationId xmlns:a16="http://schemas.microsoft.com/office/drawing/2014/main" id="{1FADB746-CB70-86EE-C419-6CB95EF4D213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756000" y="3018846"/>
                      <a:ext cx="2107850" cy="141064"/>
                    </a:xfrm>
                    <a:prstGeom prst="rect">
                      <a:avLst/>
                    </a:prstGeom>
                  </p:spPr>
                  <p:txBody>
                    <a:bodyPr wrap="square" lIns="0" tIns="0" rIns="0" bIns="0" rtlCol="0" anchor="t">
                      <a:spAutoFit/>
                    </a:bodyPr>
                    <a:lstStyle/>
                    <a:p>
                      <a:pPr>
                        <a:lnSpc>
                          <a:spcPts val="1099"/>
                        </a:lnSpc>
                      </a:pPr>
                      <a:r>
                        <a:rPr lang="en-US" sz="999" b="1" spc="-49" dirty="0">
                          <a:solidFill>
                            <a:srgbClr val="FFFFFF"/>
                          </a:solidFill>
                          <a:latin typeface="Be Vietnam Pro" pitchFamily="2" charset="0"/>
                        </a:rPr>
                        <a:t>Audi R8</a:t>
                      </a:r>
                    </a:p>
                  </p:txBody>
                </p:sp>
              </p:grpSp>
            </p:grpSp>
          </p:grpSp>
          <p:grpSp>
            <p:nvGrpSpPr>
              <p:cNvPr id="3" name="Group 2">
                <a:extLst>
                  <a:ext uri="{FF2B5EF4-FFF2-40B4-BE49-F238E27FC236}">
                    <a16:creationId xmlns:a16="http://schemas.microsoft.com/office/drawing/2014/main" id="{10CA1458-5573-C445-9DAF-0EFF83D6D2F7}"/>
                  </a:ext>
                </a:extLst>
              </p:cNvPr>
              <p:cNvGrpSpPr/>
              <p:nvPr/>
            </p:nvGrpSpPr>
            <p:grpSpPr>
              <a:xfrm>
                <a:off x="528856" y="517073"/>
                <a:ext cx="6516659" cy="1300998"/>
                <a:chOff x="528856" y="517073"/>
                <a:chExt cx="6516659" cy="1300998"/>
              </a:xfrm>
            </p:grpSpPr>
            <p:sp>
              <p:nvSpPr>
                <p:cNvPr id="2" name="Freeform 2"/>
                <p:cNvSpPr/>
                <p:nvPr/>
              </p:nvSpPr>
              <p:spPr>
                <a:xfrm>
                  <a:off x="528856" y="517073"/>
                  <a:ext cx="258094" cy="25998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8094" h="259985">
                      <a:moveTo>
                        <a:pt x="0" y="0"/>
                      </a:moveTo>
                      <a:lnTo>
                        <a:pt x="258094" y="0"/>
                      </a:lnTo>
                      <a:lnTo>
                        <a:pt x="258094" y="259985"/>
                      </a:lnTo>
                      <a:lnTo>
                        <a:pt x="0" y="25998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blipFill>
                  <a:blip r:embed="rId3">
                    <a:extLst>
                      <a:ext uri="{96DAC541-7B7A-43D3-8B79-37D633B846F1}">
                        <asvg:svgBlip xmlns:asvg="http://schemas.microsoft.com/office/drawing/2016/SVG/main" r:embed="rId4"/>
                      </a:ext>
                    </a:extLst>
                  </a:blip>
                  <a:stretch>
                    <a:fillRect/>
                  </a:stretch>
                </a:blipFill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09" name="TextBox 209"/>
                <p:cNvSpPr txBox="1"/>
                <p:nvPr/>
              </p:nvSpPr>
              <p:spPr>
                <a:xfrm rot="-5400000">
                  <a:off x="6314327" y="1086882"/>
                  <a:ext cx="1250588" cy="211789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r">
                    <a:lnSpc>
                      <a:spcPts val="1800"/>
                    </a:lnSpc>
                  </a:pPr>
                  <a:r>
                    <a:rPr lang="en-US" sz="1200" dirty="0">
                      <a:solidFill>
                        <a:srgbClr val="FFFFFF"/>
                      </a:solidFill>
                      <a:latin typeface="Be Vietnam Pro" pitchFamily="2" charset="0"/>
                    </a:rPr>
                    <a:t>August 15, 2025</a:t>
                  </a:r>
                </a:p>
              </p:txBody>
            </p:sp>
            <p:sp>
              <p:nvSpPr>
                <p:cNvPr id="210" name="TextBox 210"/>
                <p:cNvSpPr txBox="1"/>
                <p:nvPr/>
              </p:nvSpPr>
              <p:spPr>
                <a:xfrm>
                  <a:off x="871666" y="558836"/>
                  <a:ext cx="1541543" cy="176459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1499"/>
                    </a:lnSpc>
                  </a:pPr>
                  <a:r>
                    <a:rPr lang="en-US" sz="999" dirty="0">
                      <a:solidFill>
                        <a:srgbClr val="FFFFFF"/>
                      </a:solidFill>
                      <a:latin typeface="Be Vietnam Pro" pitchFamily="2" charset="0"/>
                      <a:cs typeface="Plus Jakarta Sans" pitchFamily="2" charset="0"/>
                    </a:rPr>
                    <a:t> CLUB NAME</a:t>
                  </a:r>
                </a:p>
              </p:txBody>
            </p:sp>
            <p:sp>
              <p:nvSpPr>
                <p:cNvPr id="211" name="TextBox 211"/>
                <p:cNvSpPr txBox="1"/>
                <p:nvPr/>
              </p:nvSpPr>
              <p:spPr>
                <a:xfrm>
                  <a:off x="528856" y="954470"/>
                  <a:ext cx="3598539" cy="863377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3250"/>
                    </a:lnSpc>
                  </a:pPr>
                  <a:r>
                    <a:rPr lang="en-US" sz="3250" b="1" spc="-162" dirty="0">
                      <a:solidFill>
                        <a:srgbClr val="FFFFFF"/>
                      </a:solidFill>
                      <a:latin typeface="Poppins" panose="00000500000000000000" pitchFamily="2" charset="0"/>
                      <a:cs typeface="Poppins" panose="00000500000000000000" pitchFamily="2" charset="0"/>
                    </a:rPr>
                    <a:t>CAR SHOW VOTING BALLOT</a:t>
                  </a:r>
                </a:p>
              </p:txBody>
            </p:sp>
          </p:grpSp>
        </p:grpSp>
        <p:sp>
          <p:nvSpPr>
            <p:cNvPr id="212" name="TemplateLAB"/>
            <p:cNvSpPr/>
            <p:nvPr/>
          </p:nvSpPr>
          <p:spPr>
            <a:xfrm rot="16200000">
              <a:off x="6902543" y="9827624"/>
              <a:ext cx="576000" cy="95040"/>
            </a:xfrm>
            <a:custGeom>
              <a:avLst/>
              <a:gdLst/>
              <a:ahLst/>
              <a:cxnLst/>
              <a:rect l="l" t="t" r="r" b="b"/>
              <a:pathLst>
                <a:path w="576000" h="95040">
                  <a:moveTo>
                    <a:pt x="0" y="0"/>
                  </a:moveTo>
                  <a:lnTo>
                    <a:pt x="576000" y="0"/>
                  </a:lnTo>
                  <a:lnTo>
                    <a:pt x="576000" y="95040"/>
                  </a:lnTo>
                  <a:lnTo>
                    <a:pt x="0" y="9504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5">
                <a:alphaModFix amt="80000"/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 dirty="0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5647145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4</TotalTime>
  <Words>79</Words>
  <Application>Microsoft Office PowerPoint</Application>
  <PresentationFormat>Custom</PresentationFormat>
  <Paragraphs>27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Poppins</vt:lpstr>
      <vt:lpstr>Be Vietnam Pro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ck of Ballot template (Portrait)</dc:title>
  <dc:creator>Hoang Anh</dc:creator>
  <cp:lastModifiedBy>Hoang Anh</cp:lastModifiedBy>
  <cp:revision>15</cp:revision>
  <dcterms:created xsi:type="dcterms:W3CDTF">2006-08-16T00:00:00Z</dcterms:created>
  <dcterms:modified xsi:type="dcterms:W3CDTF">2024-03-15T17:45:43Z</dcterms:modified>
  <dc:identifier>DAF_jL_NqY0</dc:identifier>
</cp:coreProperties>
</file>